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1.xml" ContentType="application/vnd.openxmlformats-officedocument.themeOverr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.xml" ContentType="application/vnd.openxmlformats-officedocument.presentationml.tags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3.xml" ContentType="application/vnd.openxmlformats-officedocument.themeOverrid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4.xml" ContentType="application/vnd.openxmlformats-officedocument.themeOverride+xml"/>
  <Override PartName="/ppt/charts/chart23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147471408" r:id="rId2"/>
    <p:sldId id="2147471413" r:id="rId3"/>
    <p:sldId id="2147473671" r:id="rId4"/>
    <p:sldId id="2147473669" r:id="rId5"/>
    <p:sldId id="2147473670" r:id="rId6"/>
    <p:sldId id="2147473667" r:id="rId7"/>
    <p:sldId id="339" r:id="rId8"/>
    <p:sldId id="344" r:id="rId9"/>
    <p:sldId id="316" r:id="rId10"/>
    <p:sldId id="2147473672" r:id="rId11"/>
    <p:sldId id="378" r:id="rId12"/>
    <p:sldId id="332" r:id="rId13"/>
    <p:sldId id="2147473683" r:id="rId14"/>
    <p:sldId id="381" r:id="rId15"/>
    <p:sldId id="2147473687" r:id="rId16"/>
    <p:sldId id="2147473689" r:id="rId17"/>
    <p:sldId id="364" r:id="rId18"/>
    <p:sldId id="2147473688" r:id="rId19"/>
    <p:sldId id="2147473690" r:id="rId20"/>
    <p:sldId id="2147473691" r:id="rId21"/>
    <p:sldId id="382" r:id="rId22"/>
    <p:sldId id="369" r:id="rId23"/>
    <p:sldId id="370" r:id="rId24"/>
    <p:sldId id="2147473693" r:id="rId25"/>
    <p:sldId id="2147473692" r:id="rId26"/>
    <p:sldId id="366" r:id="rId27"/>
    <p:sldId id="368" r:id="rId28"/>
    <p:sldId id="2147471412" r:id="rId29"/>
    <p:sldId id="269" r:id="rId30"/>
    <p:sldId id="2147473686" r:id="rId31"/>
    <p:sldId id="306" r:id="rId32"/>
    <p:sldId id="2145705987" r:id="rId33"/>
    <p:sldId id="310" r:id="rId34"/>
    <p:sldId id="2147473678" r:id="rId35"/>
    <p:sldId id="2147473680" r:id="rId36"/>
  </p:sldIdLst>
  <p:sldSz cx="12192000" cy="6858000"/>
  <p:notesSz cx="6858000" cy="9144000"/>
  <p:defaultTextStyle>
    <a:defPPr>
      <a:defRPr lang="ar-Y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brahim Anesi" initials="EA" lastIdx="1" clrIdx="0">
    <p:extLst>
      <p:ext uri="{19B8F6BF-5375-455C-9EA6-DF929625EA0E}">
        <p15:presenceInfo xmlns:p15="http://schemas.microsoft.com/office/powerpoint/2012/main" userId="e3bf095e1636453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35" autoAdjust="0"/>
    <p:restoredTop sz="89121" autoAdjust="0"/>
  </p:normalViewPr>
  <p:slideViewPr>
    <p:cSldViewPr snapToGrid="0">
      <p:cViewPr varScale="1">
        <p:scale>
          <a:sx n="57" d="100"/>
          <a:sy n="57" d="100"/>
        </p:scale>
        <p:origin x="900" y="4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file:///G:\&#1575;&#1604;&#1593;&#1605;&#1604;\EPI%202022\EPI2021\GAVI%20Amman%202022\Data%20Amman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G:\&#1575;&#1604;&#1593;&#1605;&#1604;\EPI%202022\EPI2021\GAVI%20Amman%202022\Data%20Amman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zero%20dose%20and%20risk%20assessment\zerodose%20class%20charts%20by%20levels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zero%20dose%20and%20risk%20assessment\zerodose%20class%20charts%20by%20levels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zero%20dose%20and%20risk%20assessment\zerodose%20class%20charts%20by%20levels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zero%20dose%20and%20risk%20assessment\zerodose%20class%20charts%20by%20levels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zero%20dose%20and%20risk%20assessment\zerodose%20class%20charts%20by%20levels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file:///C:\Users\ansi_\Desktop\MAR2023\HAS%20correct%20target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oleObject" Target="file:///C:\Users\ansi_\Desktop\MAR2023\HAS%20correct%20target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si_\Desktop\MAR2023\HAS%20correct%20target.xlsx" TargetMode="External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nsi_\Downloads\Diphtheria%20Tetanus%20Toxoid%20and%20Pertussis%20(DTP)%20vaccination%20coverage%202022-05-09%2016-19%20UTC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G:\&#1575;&#1604;&#1593;&#1605;&#1604;\&#8207;&#8207;EPI-%202021\Analysis%20for%20Yemen%20routin%20coverage%202021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H:\GAVI%20Persntaiton\EPI%20HFs%20status%202018%20-202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file:///D:\mcking\ROUTINE%20DATA\Planning2020&amp;%202021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Zero dose children, EM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95-4372-A4C3-96ED17E4BF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95-4372-A4C3-96ED17E4BF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995-4372-A4C3-96ED17E4BF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C3-40CD-AC4D-E54326539CB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995-4372-A4C3-96ED17E4BF6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995-4372-A4C3-96ED17E4BF6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EC3-40CD-AC4D-E54326539CB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995-4372-A4C3-96ED17E4BF6D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FEC3-40CD-AC4D-E54326539CB6}"/>
                </c:ext>
              </c:extLst>
            </c:dLbl>
            <c:dLbl>
              <c:idx val="6"/>
              <c:layout>
                <c:manualLayout>
                  <c:x val="-4.5676448646139019E-2"/>
                  <c:y val="5.69337730914376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EC3-40CD-AC4D-E54326539C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Pakistan</c:v>
                </c:pt>
                <c:pt idx="1">
                  <c:v>Afghanistan</c:v>
                </c:pt>
                <c:pt idx="2">
                  <c:v>Somalia</c:v>
                </c:pt>
                <c:pt idx="3">
                  <c:v>Yemen</c:v>
                </c:pt>
                <c:pt idx="4">
                  <c:v>Syria</c:v>
                </c:pt>
                <c:pt idx="5">
                  <c:v>Iraq</c:v>
                </c:pt>
                <c:pt idx="6">
                  <c:v>Sudan</c:v>
                </c:pt>
                <c:pt idx="7">
                  <c:v>Others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610564</c:v>
                </c:pt>
                <c:pt idx="1">
                  <c:v>360765</c:v>
                </c:pt>
                <c:pt idx="2">
                  <c:v>337948</c:v>
                </c:pt>
                <c:pt idx="3">
                  <c:v>174613</c:v>
                </c:pt>
                <c:pt idx="4">
                  <c:v>146984</c:v>
                </c:pt>
                <c:pt idx="5">
                  <c:v>128760</c:v>
                </c:pt>
                <c:pt idx="6">
                  <c:v>89039</c:v>
                </c:pt>
                <c:pt idx="7" formatCode="General">
                  <c:v>232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C3-40CD-AC4D-E54326539CB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7601039377085047E-2"/>
          <c:y val="0.19270605859118201"/>
          <c:w val="0.95056938208700359"/>
          <c:h val="0.686994369707418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or years'!$J$8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ED7D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4472C4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90:$I$100</c:f>
              <c:strCache>
                <c:ptCount val="11"/>
                <c:pt idx="0">
                  <c:v>Abyen</c:v>
                </c:pt>
                <c:pt idx="1">
                  <c:v>Aden</c:v>
                </c:pt>
                <c:pt idx="2">
                  <c:v>Al_ Mahweet</c:v>
                </c:pt>
                <c:pt idx="3">
                  <c:v>Al_byada'a</c:v>
                </c:pt>
                <c:pt idx="4">
                  <c:v>Al_Dhale'a</c:v>
                </c:pt>
                <c:pt idx="5">
                  <c:v>Al_Hodydah</c:v>
                </c:pt>
                <c:pt idx="6">
                  <c:v>AL_jawf</c:v>
                </c:pt>
                <c:pt idx="7">
                  <c:v>AL_Mahrah</c:v>
                </c:pt>
                <c:pt idx="8">
                  <c:v>Amaran</c:v>
                </c:pt>
                <c:pt idx="9">
                  <c:v>Damar</c:v>
                </c:pt>
                <c:pt idx="10">
                  <c:v>Hajah</c:v>
                </c:pt>
              </c:strCache>
            </c:strRef>
          </c:cat>
          <c:val>
            <c:numRef>
              <c:f>'for years'!$J$90:$J$100</c:f>
              <c:numCache>
                <c:formatCode>0%</c:formatCode>
                <c:ptCount val="11"/>
                <c:pt idx="0">
                  <c:v>0.87740416888986406</c:v>
                </c:pt>
                <c:pt idx="1">
                  <c:v>0.86866534268682882</c:v>
                </c:pt>
                <c:pt idx="2">
                  <c:v>0.80898614187176721</c:v>
                </c:pt>
                <c:pt idx="3">
                  <c:v>0.72477069281569051</c:v>
                </c:pt>
                <c:pt idx="4">
                  <c:v>0.8367035979132087</c:v>
                </c:pt>
                <c:pt idx="5">
                  <c:v>0.74263839269831489</c:v>
                </c:pt>
                <c:pt idx="6">
                  <c:v>0.35992576829840012</c:v>
                </c:pt>
                <c:pt idx="7">
                  <c:v>0.69204947863225519</c:v>
                </c:pt>
                <c:pt idx="8">
                  <c:v>0.83423952585113148</c:v>
                </c:pt>
                <c:pt idx="9">
                  <c:v>0.95470732256643376</c:v>
                </c:pt>
                <c:pt idx="10">
                  <c:v>0.87151038524872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2F-480C-9717-7752D690C5F2}"/>
            </c:ext>
          </c:extLst>
        </c:ser>
        <c:ser>
          <c:idx val="1"/>
          <c:order val="1"/>
          <c:tx>
            <c:strRef>
              <c:f>'for years'!$K$89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3E5E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ED7D3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90:$I$100</c:f>
              <c:strCache>
                <c:ptCount val="11"/>
                <c:pt idx="0">
                  <c:v>Abyen</c:v>
                </c:pt>
                <c:pt idx="1">
                  <c:v>Aden</c:v>
                </c:pt>
                <c:pt idx="2">
                  <c:v>Al_ Mahweet</c:v>
                </c:pt>
                <c:pt idx="3">
                  <c:v>Al_byada'a</c:v>
                </c:pt>
                <c:pt idx="4">
                  <c:v>Al_Dhale'a</c:v>
                </c:pt>
                <c:pt idx="5">
                  <c:v>Al_Hodydah</c:v>
                </c:pt>
                <c:pt idx="6">
                  <c:v>AL_jawf</c:v>
                </c:pt>
                <c:pt idx="7">
                  <c:v>AL_Mahrah</c:v>
                </c:pt>
                <c:pt idx="8">
                  <c:v>Amaran</c:v>
                </c:pt>
                <c:pt idx="9">
                  <c:v>Damar</c:v>
                </c:pt>
                <c:pt idx="10">
                  <c:v>Hajah</c:v>
                </c:pt>
              </c:strCache>
            </c:strRef>
          </c:cat>
          <c:val>
            <c:numRef>
              <c:f>'for years'!$K$90:$K$100</c:f>
              <c:numCache>
                <c:formatCode>0%</c:formatCode>
                <c:ptCount val="11"/>
                <c:pt idx="0">
                  <c:v>0.8165023451708624</c:v>
                </c:pt>
                <c:pt idx="1">
                  <c:v>0.93307419300321104</c:v>
                </c:pt>
                <c:pt idx="2">
                  <c:v>0.89207470369926978</c:v>
                </c:pt>
                <c:pt idx="3">
                  <c:v>0.7560985315770623</c:v>
                </c:pt>
                <c:pt idx="4">
                  <c:v>0.73820170738016921</c:v>
                </c:pt>
                <c:pt idx="5">
                  <c:v>0.85424854873456235</c:v>
                </c:pt>
                <c:pt idx="6">
                  <c:v>0.62842599843382929</c:v>
                </c:pt>
                <c:pt idx="7">
                  <c:v>0.8623217922606925</c:v>
                </c:pt>
                <c:pt idx="8">
                  <c:v>0.86637336908291007</c:v>
                </c:pt>
                <c:pt idx="9">
                  <c:v>0.99600411946446965</c:v>
                </c:pt>
                <c:pt idx="10">
                  <c:v>0.92167752707371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2F-480C-9717-7752D690C5F2}"/>
            </c:ext>
          </c:extLst>
        </c:ser>
        <c:ser>
          <c:idx val="2"/>
          <c:order val="2"/>
          <c:tx>
            <c:strRef>
              <c:f>'for years'!$L$89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A5A5A5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90:$I$100</c:f>
              <c:strCache>
                <c:ptCount val="11"/>
                <c:pt idx="0">
                  <c:v>Abyen</c:v>
                </c:pt>
                <c:pt idx="1">
                  <c:v>Aden</c:v>
                </c:pt>
                <c:pt idx="2">
                  <c:v>Al_ Mahweet</c:v>
                </c:pt>
                <c:pt idx="3">
                  <c:v>Al_byada'a</c:v>
                </c:pt>
                <c:pt idx="4">
                  <c:v>Al_Dhale'a</c:v>
                </c:pt>
                <c:pt idx="5">
                  <c:v>Al_Hodydah</c:v>
                </c:pt>
                <c:pt idx="6">
                  <c:v>AL_jawf</c:v>
                </c:pt>
                <c:pt idx="7">
                  <c:v>AL_Mahrah</c:v>
                </c:pt>
                <c:pt idx="8">
                  <c:v>Amaran</c:v>
                </c:pt>
                <c:pt idx="9">
                  <c:v>Damar</c:v>
                </c:pt>
                <c:pt idx="10">
                  <c:v>Hajah</c:v>
                </c:pt>
              </c:strCache>
            </c:strRef>
          </c:cat>
          <c:val>
            <c:numRef>
              <c:f>'for years'!$L$90:$L$100</c:f>
              <c:numCache>
                <c:formatCode>0%</c:formatCode>
                <c:ptCount val="11"/>
                <c:pt idx="0">
                  <c:v>0.75413358243811301</c:v>
                </c:pt>
                <c:pt idx="1">
                  <c:v>0.81851489985344406</c:v>
                </c:pt>
                <c:pt idx="2">
                  <c:v>0.88681056551082149</c:v>
                </c:pt>
                <c:pt idx="3">
                  <c:v>0.83295728623667631</c:v>
                </c:pt>
                <c:pt idx="4">
                  <c:v>0.67561393489434607</c:v>
                </c:pt>
                <c:pt idx="5">
                  <c:v>0.87406446065161314</c:v>
                </c:pt>
                <c:pt idx="6">
                  <c:v>0.66040615593335317</c:v>
                </c:pt>
                <c:pt idx="7">
                  <c:v>0.66958893434638611</c:v>
                </c:pt>
                <c:pt idx="8">
                  <c:v>0.88601818181818182</c:v>
                </c:pt>
                <c:pt idx="9">
                  <c:v>0.93282637936315571</c:v>
                </c:pt>
                <c:pt idx="10">
                  <c:v>0.87150636842342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2F-480C-9717-7752D690C5F2}"/>
            </c:ext>
          </c:extLst>
        </c:ser>
        <c:ser>
          <c:idx val="3"/>
          <c:order val="3"/>
          <c:tx>
            <c:strRef>
              <c:f>'for years'!$M$89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ysClr val="window" lastClr="FFFFFF">
                <a:lumMod val="75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BFBFBF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90:$I$100</c:f>
              <c:strCache>
                <c:ptCount val="11"/>
                <c:pt idx="0">
                  <c:v>Abyen</c:v>
                </c:pt>
                <c:pt idx="1">
                  <c:v>Aden</c:v>
                </c:pt>
                <c:pt idx="2">
                  <c:v>Al_ Mahweet</c:v>
                </c:pt>
                <c:pt idx="3">
                  <c:v>Al_byada'a</c:v>
                </c:pt>
                <c:pt idx="4">
                  <c:v>Al_Dhale'a</c:v>
                </c:pt>
                <c:pt idx="5">
                  <c:v>Al_Hodydah</c:v>
                </c:pt>
                <c:pt idx="6">
                  <c:v>AL_jawf</c:v>
                </c:pt>
                <c:pt idx="7">
                  <c:v>AL_Mahrah</c:v>
                </c:pt>
                <c:pt idx="8">
                  <c:v>Amaran</c:v>
                </c:pt>
                <c:pt idx="9">
                  <c:v>Damar</c:v>
                </c:pt>
                <c:pt idx="10">
                  <c:v>Hajah</c:v>
                </c:pt>
              </c:strCache>
            </c:strRef>
          </c:cat>
          <c:val>
            <c:numRef>
              <c:f>'for years'!$M$90:$M$100</c:f>
              <c:numCache>
                <c:formatCode>0%</c:formatCode>
                <c:ptCount val="11"/>
                <c:pt idx="0">
                  <c:v>0.69945305378304468</c:v>
                </c:pt>
                <c:pt idx="1">
                  <c:v>0.75170601615813004</c:v>
                </c:pt>
                <c:pt idx="2">
                  <c:v>0.81362929450021204</c:v>
                </c:pt>
                <c:pt idx="3">
                  <c:v>0.88918045255752043</c:v>
                </c:pt>
                <c:pt idx="4">
                  <c:v>0.64913308744958809</c:v>
                </c:pt>
                <c:pt idx="5">
                  <c:v>0.89652434041109619</c:v>
                </c:pt>
                <c:pt idx="6">
                  <c:v>0.4975208660441286</c:v>
                </c:pt>
                <c:pt idx="7">
                  <c:v>0.6671013412816692</c:v>
                </c:pt>
                <c:pt idx="8">
                  <c:v>0.87166692928550171</c:v>
                </c:pt>
                <c:pt idx="9">
                  <c:v>0.98801389767898429</c:v>
                </c:pt>
                <c:pt idx="10">
                  <c:v>0.89122174909924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2F-480C-9717-7752D690C5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94"/>
        <c:overlap val="-27"/>
        <c:axId val="558688792"/>
        <c:axId val="558687152"/>
      </c:barChart>
      <c:catAx>
        <c:axId val="558688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58687152"/>
        <c:crosses val="autoZero"/>
        <c:auto val="1"/>
        <c:lblAlgn val="ctr"/>
        <c:lblOffset val="100"/>
        <c:noMultiLvlLbl val="0"/>
      </c:catAx>
      <c:valAx>
        <c:axId val="558687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58688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130275244739751"/>
          <c:y val="0.11991236678381351"/>
          <c:w val="0.16940616955283261"/>
          <c:h val="7.40949867859752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8029318318185096E-2"/>
          <c:y val="5.0939540380950214E-2"/>
          <c:w val="0.95000636327027899"/>
          <c:h val="0.729998709799042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or years'!$J$8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ED7D3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ED7D3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101:$I$112</c:f>
              <c:strCache>
                <c:ptCount val="12"/>
                <c:pt idx="0">
                  <c:v>Ibb</c:v>
                </c:pt>
                <c:pt idx="1">
                  <c:v>Lahj</c:v>
                </c:pt>
                <c:pt idx="2">
                  <c:v>Ma'areb</c:v>
                </c:pt>
                <c:pt idx="3">
                  <c:v>Moklla</c:v>
                </c:pt>
                <c:pt idx="4">
                  <c:v>Raymah</c:v>
                </c:pt>
                <c:pt idx="5">
                  <c:v>Sa'adah</c:v>
                </c:pt>
                <c:pt idx="6">
                  <c:v>Sana'a city</c:v>
                </c:pt>
                <c:pt idx="7">
                  <c:v>Sana'a Govt.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for years'!$J$101:$J$112</c:f>
              <c:numCache>
                <c:formatCode>0%</c:formatCode>
                <c:ptCount val="12"/>
                <c:pt idx="0">
                  <c:v>0.89928578322836439</c:v>
                </c:pt>
                <c:pt idx="1">
                  <c:v>0.91715170984074101</c:v>
                </c:pt>
                <c:pt idx="2">
                  <c:v>1.2582348512631307</c:v>
                </c:pt>
                <c:pt idx="3">
                  <c:v>0.88542823903216317</c:v>
                </c:pt>
                <c:pt idx="4">
                  <c:v>0.79954778195419318</c:v>
                </c:pt>
                <c:pt idx="5">
                  <c:v>0.40289136043226148</c:v>
                </c:pt>
                <c:pt idx="6">
                  <c:v>0.69270070538927564</c:v>
                </c:pt>
                <c:pt idx="7">
                  <c:v>0.99566908438054313</c:v>
                </c:pt>
                <c:pt idx="8">
                  <c:v>0.82904842344765872</c:v>
                </c:pt>
                <c:pt idx="9">
                  <c:v>0.72753942336045352</c:v>
                </c:pt>
                <c:pt idx="10">
                  <c:v>0.72478984278178649</c:v>
                </c:pt>
                <c:pt idx="11">
                  <c:v>0.7133659132851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29-4CDE-9857-EA2E47D774D0}"/>
            </c:ext>
          </c:extLst>
        </c:ser>
        <c:ser>
          <c:idx val="1"/>
          <c:order val="1"/>
          <c:tx>
            <c:strRef>
              <c:f>'for years'!$K$89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3E5E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3E5EAB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101:$I$112</c:f>
              <c:strCache>
                <c:ptCount val="12"/>
                <c:pt idx="0">
                  <c:v>Ibb</c:v>
                </c:pt>
                <c:pt idx="1">
                  <c:v>Lahj</c:v>
                </c:pt>
                <c:pt idx="2">
                  <c:v>Ma'areb</c:v>
                </c:pt>
                <c:pt idx="3">
                  <c:v>Moklla</c:v>
                </c:pt>
                <c:pt idx="4">
                  <c:v>Raymah</c:v>
                </c:pt>
                <c:pt idx="5">
                  <c:v>Sa'adah</c:v>
                </c:pt>
                <c:pt idx="6">
                  <c:v>Sana'a city</c:v>
                </c:pt>
                <c:pt idx="7">
                  <c:v>Sana'a Govt.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for years'!$K$101:$K$112</c:f>
              <c:numCache>
                <c:formatCode>0%</c:formatCode>
                <c:ptCount val="12"/>
                <c:pt idx="0">
                  <c:v>0.93450569669520911</c:v>
                </c:pt>
                <c:pt idx="1">
                  <c:v>0.9393591582974653</c:v>
                </c:pt>
                <c:pt idx="2">
                  <c:v>1.5093378607809846</c:v>
                </c:pt>
                <c:pt idx="3">
                  <c:v>0.96710583718698195</c:v>
                </c:pt>
                <c:pt idx="4">
                  <c:v>0.7958779418006886</c:v>
                </c:pt>
                <c:pt idx="5">
                  <c:v>0.7583848604084692</c:v>
                </c:pt>
                <c:pt idx="6">
                  <c:v>0.7445901898595163</c:v>
                </c:pt>
                <c:pt idx="7">
                  <c:v>1.1127850689860475</c:v>
                </c:pt>
                <c:pt idx="8">
                  <c:v>0.84669528753993606</c:v>
                </c:pt>
                <c:pt idx="9">
                  <c:v>0.84992710745219102</c:v>
                </c:pt>
                <c:pt idx="10">
                  <c:v>0.81349693251533739</c:v>
                </c:pt>
                <c:pt idx="11">
                  <c:v>0.8754965302703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29-4CDE-9857-EA2E47D774D0}"/>
            </c:ext>
          </c:extLst>
        </c:ser>
        <c:ser>
          <c:idx val="2"/>
          <c:order val="2"/>
          <c:tx>
            <c:strRef>
              <c:f>'for years'!$L$89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11"/>
              <c:layout>
                <c:manualLayout>
                  <c:x val="1.0876653101394675E-3"/>
                  <c:y val="1.27348850952375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C29-4CDE-9857-EA2E47D774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00B0F0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101:$I$112</c:f>
              <c:strCache>
                <c:ptCount val="12"/>
                <c:pt idx="0">
                  <c:v>Ibb</c:v>
                </c:pt>
                <c:pt idx="1">
                  <c:v>Lahj</c:v>
                </c:pt>
                <c:pt idx="2">
                  <c:v>Ma'areb</c:v>
                </c:pt>
                <c:pt idx="3">
                  <c:v>Moklla</c:v>
                </c:pt>
                <c:pt idx="4">
                  <c:v>Raymah</c:v>
                </c:pt>
                <c:pt idx="5">
                  <c:v>Sa'adah</c:v>
                </c:pt>
                <c:pt idx="6">
                  <c:v>Sana'a city</c:v>
                </c:pt>
                <c:pt idx="7">
                  <c:v>Sana'a Govt.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for years'!$L$101:$L$112</c:f>
              <c:numCache>
                <c:formatCode>0%</c:formatCode>
                <c:ptCount val="12"/>
                <c:pt idx="0">
                  <c:v>0.93122761596548009</c:v>
                </c:pt>
                <c:pt idx="1">
                  <c:v>0.88156219924870383</c:v>
                </c:pt>
                <c:pt idx="2">
                  <c:v>2.0033938726839113</c:v>
                </c:pt>
                <c:pt idx="3">
                  <c:v>0.89590385917400139</c:v>
                </c:pt>
                <c:pt idx="4">
                  <c:v>0.84428067926946493</c:v>
                </c:pt>
                <c:pt idx="5">
                  <c:v>0.56834207195805464</c:v>
                </c:pt>
                <c:pt idx="6">
                  <c:v>0.80576433746082532</c:v>
                </c:pt>
                <c:pt idx="7">
                  <c:v>1.1244959549592959</c:v>
                </c:pt>
                <c:pt idx="8">
                  <c:v>0.78604628643362062</c:v>
                </c:pt>
                <c:pt idx="9">
                  <c:v>0.72232684662063196</c:v>
                </c:pt>
                <c:pt idx="10">
                  <c:v>0.7794525981753273</c:v>
                </c:pt>
                <c:pt idx="11">
                  <c:v>0.8630343775775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29-4CDE-9857-EA2E47D774D0}"/>
            </c:ext>
          </c:extLst>
        </c:ser>
        <c:ser>
          <c:idx val="3"/>
          <c:order val="3"/>
          <c:tx>
            <c:strRef>
              <c:f>'for years'!$M$89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BFBFBF"/>
            </a:solidFill>
            <a:ln>
              <a:noFill/>
            </a:ln>
            <a:effectLst/>
          </c:spPr>
          <c:invertIfNegative val="0"/>
          <c:dLbls>
            <c:dLbl>
              <c:idx val="11"/>
              <c:layout>
                <c:manualLayout>
                  <c:x val="2.517645442690915E-3"/>
                  <c:y val="-4.71057048942737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C29-4CDE-9857-EA2E47D774D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BFBFBF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or years'!$I$101:$I$112</c:f>
              <c:strCache>
                <c:ptCount val="12"/>
                <c:pt idx="0">
                  <c:v>Ibb</c:v>
                </c:pt>
                <c:pt idx="1">
                  <c:v>Lahj</c:v>
                </c:pt>
                <c:pt idx="2">
                  <c:v>Ma'areb</c:v>
                </c:pt>
                <c:pt idx="3">
                  <c:v>Moklla</c:v>
                </c:pt>
                <c:pt idx="4">
                  <c:v>Raymah</c:v>
                </c:pt>
                <c:pt idx="5">
                  <c:v>Sa'adah</c:v>
                </c:pt>
                <c:pt idx="6">
                  <c:v>Sana'a city</c:v>
                </c:pt>
                <c:pt idx="7">
                  <c:v>Sana'a Govt.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for years'!$M$101:$M$112</c:f>
              <c:numCache>
                <c:formatCode>0%</c:formatCode>
                <c:ptCount val="12"/>
                <c:pt idx="0">
                  <c:v>0.87774157426351107</c:v>
                </c:pt>
                <c:pt idx="1">
                  <c:v>0.80354335469827065</c:v>
                </c:pt>
                <c:pt idx="2">
                  <c:v>2.451627284886313</c:v>
                </c:pt>
                <c:pt idx="3">
                  <c:v>0.89684331513484672</c:v>
                </c:pt>
                <c:pt idx="4">
                  <c:v>0.79633084577114432</c:v>
                </c:pt>
                <c:pt idx="5">
                  <c:v>0.85503706934147405</c:v>
                </c:pt>
                <c:pt idx="6">
                  <c:v>0.83483591445427729</c:v>
                </c:pt>
                <c:pt idx="7">
                  <c:v>1.1219033420300659</c:v>
                </c:pt>
                <c:pt idx="8">
                  <c:v>0.72962562825872512</c:v>
                </c:pt>
                <c:pt idx="9">
                  <c:v>0.60163365325709617</c:v>
                </c:pt>
                <c:pt idx="10">
                  <c:v>0.72902232486528096</c:v>
                </c:pt>
                <c:pt idx="11">
                  <c:v>0.87590232498121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29-4CDE-9857-EA2E47D774D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658695856"/>
        <c:axId val="658694544"/>
      </c:barChart>
      <c:catAx>
        <c:axId val="658695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658694544"/>
        <c:crosses val="autoZero"/>
        <c:auto val="1"/>
        <c:lblAlgn val="ctr"/>
        <c:lblOffset val="100"/>
        <c:noMultiLvlLbl val="0"/>
      </c:catAx>
      <c:valAx>
        <c:axId val="658694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658695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erodose class charts by levels.xlsx]imminization import data!PivotTable1</c:name>
    <c:fmtId val="49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 dirty="0"/>
              <a:t>الجرعة الصفرية</a:t>
            </a:r>
            <a:r>
              <a:rPr lang="ar-SA" baseline="0" dirty="0"/>
              <a:t> و التطعيمات فوق العام بحسب الأعوام في 120 مديرية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rgbClr val="FF0000"/>
          </a:solidFill>
          <a:ln>
            <a:noFill/>
          </a:ln>
          <a:effectLst/>
        </c:spP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9.1877635873541544E-2"/>
          <c:y val="7.2675488248857528E-2"/>
          <c:w val="0.89353257206976733"/>
          <c:h val="0.70937643943270079"/>
        </c:manualLayout>
      </c:layout>
      <c:lineChart>
        <c:grouping val="standard"/>
        <c:varyColors val="0"/>
        <c:ser>
          <c:idx val="0"/>
          <c:order val="0"/>
          <c:tx>
            <c:strRef>
              <c:f>'imminization import data'!$B$6:$B$7</c:f>
              <c:strCache>
                <c:ptCount val="1"/>
                <c:pt idx="0">
                  <c:v> Penta1 فوق العام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'!$A$8:$A$13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'imminization import data'!$B$8:$B$13</c:f>
              <c:numCache>
                <c:formatCode>_(* #,##0_);_(* \(#,##0\);_(* "-"??_);_(@_)</c:formatCode>
                <c:ptCount val="6"/>
                <c:pt idx="0">
                  <c:v>1493</c:v>
                </c:pt>
                <c:pt idx="1">
                  <c:v>1271</c:v>
                </c:pt>
                <c:pt idx="2">
                  <c:v>1626</c:v>
                </c:pt>
                <c:pt idx="3">
                  <c:v>3100</c:v>
                </c:pt>
                <c:pt idx="4">
                  <c:v>2970</c:v>
                </c:pt>
                <c:pt idx="5">
                  <c:v>4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1B-47CB-ABCA-D916B3C76106}"/>
            </c:ext>
          </c:extLst>
        </c:ser>
        <c:ser>
          <c:idx val="1"/>
          <c:order val="1"/>
          <c:tx>
            <c:strRef>
              <c:f>'imminization import data'!$C$6:$C$7</c:f>
              <c:strCache>
                <c:ptCount val="1"/>
                <c:pt idx="0">
                  <c:v> penta zer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1A5-43F7-A692-4F67A9D0D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'!$A$8:$A$13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'imminization import data'!$C$8:$C$13</c:f>
              <c:numCache>
                <c:formatCode>_(* #,##0_);_(* \(#,##0\);_(* "-"??_);_(@_)</c:formatCode>
                <c:ptCount val="6"/>
                <c:pt idx="0">
                  <c:v>35152.203787823964</c:v>
                </c:pt>
                <c:pt idx="1">
                  <c:v>36739.453297102213</c:v>
                </c:pt>
                <c:pt idx="2">
                  <c:v>24077.235467758321</c:v>
                </c:pt>
                <c:pt idx="3">
                  <c:v>15352.745099051332</c:v>
                </c:pt>
                <c:pt idx="4">
                  <c:v>22622.999999998487</c:v>
                </c:pt>
                <c:pt idx="5">
                  <c:v>28087.999999997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98-0F1B-47CB-ABCA-D916B3C76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0981920"/>
        <c:axId val="577750432"/>
      </c:lineChart>
      <c:catAx>
        <c:axId val="5709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7750432"/>
        <c:crosses val="autoZero"/>
        <c:auto val="1"/>
        <c:lblAlgn val="ctr"/>
        <c:lblOffset val="100"/>
        <c:noMultiLvlLbl val="0"/>
      </c:catAx>
      <c:valAx>
        <c:axId val="5777504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crossAx val="57098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erodose class charts by levels.xlsx]imminization import data (2)!PivotTable1</c:name>
    <c:fmtId val="6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/>
              <a:t>الجرعة الصفرية بحسب المحافظات خلال اخر 3 سنوات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7.0372317376604612E-2"/>
          <c:y val="8.505511419422071E-2"/>
          <c:w val="0.91441029179265221"/>
          <c:h val="0.896666945292477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mminization import data (2)'!$B$6:$B$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B$8:$B$19</c:f>
              <c:numCache>
                <c:formatCode>_(* #,##0_);_(* \(#,##0\);_(* "-"??_);_(@_)</c:formatCode>
                <c:ptCount val="12"/>
                <c:pt idx="0">
                  <c:v>2025.4843779301082</c:v>
                </c:pt>
                <c:pt idx="1">
                  <c:v>-1310.781539243224</c:v>
                </c:pt>
                <c:pt idx="2">
                  <c:v>2134.9434313066449</c:v>
                </c:pt>
                <c:pt idx="3">
                  <c:v>1866.0381532190177</c:v>
                </c:pt>
                <c:pt idx="4">
                  <c:v>428.30114811251315</c:v>
                </c:pt>
                <c:pt idx="5">
                  <c:v>395.09411839315726</c:v>
                </c:pt>
                <c:pt idx="6">
                  <c:v>-7006.7437896745114</c:v>
                </c:pt>
                <c:pt idx="7">
                  <c:v>-856.80062529615316</c:v>
                </c:pt>
                <c:pt idx="8">
                  <c:v>3187.4381017127344</c:v>
                </c:pt>
                <c:pt idx="9">
                  <c:v>854.58980695348509</c:v>
                </c:pt>
                <c:pt idx="10">
                  <c:v>-748.61898117238479</c:v>
                </c:pt>
                <c:pt idx="11">
                  <c:v>14383.800896808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59-4186-9714-ABA7869144D8}"/>
            </c:ext>
          </c:extLst>
        </c:ser>
        <c:ser>
          <c:idx val="1"/>
          <c:order val="1"/>
          <c:tx>
            <c:strRef>
              <c:f>'imminization import data (2)'!$C$6:$C$7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C$8:$C$19</c:f>
              <c:numCache>
                <c:formatCode>_(* #,##0_);_(* \(#,##0\);_(* "-"??_);_(@_)</c:formatCode>
                <c:ptCount val="12"/>
                <c:pt idx="0">
                  <c:v>3739.9999999999854</c:v>
                </c:pt>
                <c:pt idx="1">
                  <c:v>1232.9999999999418</c:v>
                </c:pt>
                <c:pt idx="2">
                  <c:v>3247.9999999999891</c:v>
                </c:pt>
                <c:pt idx="3">
                  <c:v>1671.9999999999964</c:v>
                </c:pt>
                <c:pt idx="4">
                  <c:v>1136.9999999999991</c:v>
                </c:pt>
                <c:pt idx="5">
                  <c:v>1669.0000000000946</c:v>
                </c:pt>
                <c:pt idx="6">
                  <c:v>-12200.999999999993</c:v>
                </c:pt>
                <c:pt idx="7">
                  <c:v>570.00000000004729</c:v>
                </c:pt>
                <c:pt idx="8">
                  <c:v>2680.9999999999818</c:v>
                </c:pt>
                <c:pt idx="9">
                  <c:v>3507.9999999999563</c:v>
                </c:pt>
                <c:pt idx="10">
                  <c:v>398</c:v>
                </c:pt>
                <c:pt idx="11">
                  <c:v>14967.999999999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59-4186-9714-ABA7869144D8}"/>
            </c:ext>
          </c:extLst>
        </c:ser>
        <c:ser>
          <c:idx val="2"/>
          <c:order val="2"/>
          <c:tx>
            <c:strRef>
              <c:f>'imminization import data (2)'!$D$6:$D$7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anchor="ctr" anchorCtr="1"/>
                <a:lstStyle/>
                <a:p>
                  <a:pPr>
                    <a:defRPr sz="20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AD8-4ABB-9973-ED1DB65E74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D$8:$D$19</c:f>
              <c:numCache>
                <c:formatCode>_(* #,##0_);_(* \(#,##0\);_(* "-"??_);_(@_)</c:formatCode>
                <c:ptCount val="12"/>
                <c:pt idx="0">
                  <c:v>5022.99999999996</c:v>
                </c:pt>
                <c:pt idx="1">
                  <c:v>1921.9999999999854</c:v>
                </c:pt>
                <c:pt idx="2">
                  <c:v>5431.0000000000255</c:v>
                </c:pt>
                <c:pt idx="3">
                  <c:v>517.00000000000546</c:v>
                </c:pt>
                <c:pt idx="4">
                  <c:v>1300.9999999999909</c:v>
                </c:pt>
                <c:pt idx="5">
                  <c:v>5560.9999999999127</c:v>
                </c:pt>
                <c:pt idx="6">
                  <c:v>-19989.000000000007</c:v>
                </c:pt>
                <c:pt idx="7">
                  <c:v>1108.9999999999709</c:v>
                </c:pt>
                <c:pt idx="8">
                  <c:v>4232.0000000000582</c:v>
                </c:pt>
                <c:pt idx="9">
                  <c:v>7518.00000000004</c:v>
                </c:pt>
                <c:pt idx="10">
                  <c:v>671</c:v>
                </c:pt>
                <c:pt idx="11">
                  <c:v>14791.999999999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59-4186-9714-ABA7869144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981920"/>
        <c:axId val="577750432"/>
      </c:barChart>
      <c:catAx>
        <c:axId val="5709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7750432"/>
        <c:crosses val="autoZero"/>
        <c:auto val="1"/>
        <c:lblAlgn val="ctr"/>
        <c:lblOffset val="100"/>
        <c:noMultiLvlLbl val="0"/>
      </c:catAx>
      <c:valAx>
        <c:axId val="577750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0981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400007384975642"/>
          <c:y val="0.93463595346180683"/>
          <c:w val="0.24569007354414032"/>
          <c:h val="6.53640465381932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erodose class charts by levels.xlsx]imminization import data!PivotTable1</c:name>
    <c:fmtId val="49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 dirty="0"/>
              <a:t>الجرعة الصفرية</a:t>
            </a:r>
            <a:r>
              <a:rPr lang="ar-SA" baseline="0" dirty="0"/>
              <a:t> و التطعيمات فوق العام بحسب الأعوام في 120 مديرية 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rgbClr val="FF0000"/>
          </a:solidFill>
          <a:ln>
            <a:noFill/>
          </a:ln>
          <a:effectLst/>
        </c:spP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9.1877635873541544E-2"/>
          <c:y val="7.2675488248857528E-2"/>
          <c:w val="0.89353257206976733"/>
          <c:h val="0.70937643943270079"/>
        </c:manualLayout>
      </c:layout>
      <c:lineChart>
        <c:grouping val="standard"/>
        <c:varyColors val="0"/>
        <c:ser>
          <c:idx val="0"/>
          <c:order val="0"/>
          <c:tx>
            <c:strRef>
              <c:f>'imminization import data'!$B$6:$B$7</c:f>
              <c:strCache>
                <c:ptCount val="1"/>
                <c:pt idx="0">
                  <c:v> Penta1 فوق العام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'!$A$8:$A$13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'imminization import data'!$B$8:$B$13</c:f>
              <c:numCache>
                <c:formatCode>_(* #,##0_);_(* \(#,##0\);_(* "-"??_);_(@_)</c:formatCode>
                <c:ptCount val="6"/>
                <c:pt idx="0">
                  <c:v>1493</c:v>
                </c:pt>
                <c:pt idx="1">
                  <c:v>1271</c:v>
                </c:pt>
                <c:pt idx="2">
                  <c:v>1626</c:v>
                </c:pt>
                <c:pt idx="3">
                  <c:v>3100</c:v>
                </c:pt>
                <c:pt idx="4">
                  <c:v>2970</c:v>
                </c:pt>
                <c:pt idx="5">
                  <c:v>41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1B-47CB-ABCA-D916B3C76106}"/>
            </c:ext>
          </c:extLst>
        </c:ser>
        <c:ser>
          <c:idx val="1"/>
          <c:order val="1"/>
          <c:tx>
            <c:strRef>
              <c:f>'imminization import data'!$C$6:$C$7</c:f>
              <c:strCache>
                <c:ptCount val="1"/>
                <c:pt idx="0">
                  <c:v> penta zer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1A5-43F7-A692-4F67A9D0DA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'!$A$8:$A$13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'imminization import data'!$C$8:$C$13</c:f>
              <c:numCache>
                <c:formatCode>_(* #,##0_);_(* \(#,##0\);_(* "-"??_);_(@_)</c:formatCode>
                <c:ptCount val="6"/>
                <c:pt idx="0">
                  <c:v>35152.203787823964</c:v>
                </c:pt>
                <c:pt idx="1">
                  <c:v>36739.453297102213</c:v>
                </c:pt>
                <c:pt idx="2">
                  <c:v>24077.235467758321</c:v>
                </c:pt>
                <c:pt idx="3">
                  <c:v>15352.745099051332</c:v>
                </c:pt>
                <c:pt idx="4">
                  <c:v>22622.999999998487</c:v>
                </c:pt>
                <c:pt idx="5">
                  <c:v>28087.9999999972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98-0F1B-47CB-ABCA-D916B3C76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0981920"/>
        <c:axId val="577750432"/>
      </c:lineChart>
      <c:catAx>
        <c:axId val="5709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7750432"/>
        <c:crosses val="autoZero"/>
        <c:auto val="1"/>
        <c:lblAlgn val="ctr"/>
        <c:lblOffset val="100"/>
        <c:noMultiLvlLbl val="0"/>
      </c:catAx>
      <c:valAx>
        <c:axId val="5777504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crossAx val="570981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erodose class charts by levels.xlsx]imminization import data (2)!PivotTable1</c:name>
    <c:fmtId val="5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 sz="2400"/>
              <a:t>الجرعة الصفرية بحسب المحافظات خلال اخر 3 سنوات</a:t>
            </a:r>
            <a:endParaRPr lang="en-US" sz="24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7.0372317376604612E-2"/>
          <c:y val="8.505511419422071E-2"/>
          <c:w val="0.91441029179265221"/>
          <c:h val="0.896666945292477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mminization import data (2)'!$B$6:$B$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B$8:$B$19</c:f>
              <c:numCache>
                <c:formatCode>_(* #,##0_);_(* \(#,##0\);_(* "-"??_);_(@_)</c:formatCode>
                <c:ptCount val="12"/>
                <c:pt idx="0">
                  <c:v>2025.4843779301082</c:v>
                </c:pt>
                <c:pt idx="1">
                  <c:v>-1310.781539243224</c:v>
                </c:pt>
                <c:pt idx="2">
                  <c:v>2134.9434313066449</c:v>
                </c:pt>
                <c:pt idx="3">
                  <c:v>1866.0381532190177</c:v>
                </c:pt>
                <c:pt idx="4">
                  <c:v>428.30114811251315</c:v>
                </c:pt>
                <c:pt idx="5">
                  <c:v>395.09411839315726</c:v>
                </c:pt>
                <c:pt idx="6">
                  <c:v>-7006.7437896745114</c:v>
                </c:pt>
                <c:pt idx="7">
                  <c:v>-856.80062529615316</c:v>
                </c:pt>
                <c:pt idx="8">
                  <c:v>3187.4381017127344</c:v>
                </c:pt>
                <c:pt idx="9">
                  <c:v>854.58980695348509</c:v>
                </c:pt>
                <c:pt idx="10">
                  <c:v>-748.61898117238479</c:v>
                </c:pt>
                <c:pt idx="11">
                  <c:v>14383.800896808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59-4186-9714-ABA7869144D8}"/>
            </c:ext>
          </c:extLst>
        </c:ser>
        <c:ser>
          <c:idx val="1"/>
          <c:order val="1"/>
          <c:tx>
            <c:strRef>
              <c:f>'imminization import data (2)'!$C$6:$C$7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C$8:$C$19</c:f>
              <c:numCache>
                <c:formatCode>_(* #,##0_);_(* \(#,##0\);_(* "-"??_);_(@_)</c:formatCode>
                <c:ptCount val="12"/>
                <c:pt idx="0">
                  <c:v>3739.9999999999854</c:v>
                </c:pt>
                <c:pt idx="1">
                  <c:v>1232.9999999999418</c:v>
                </c:pt>
                <c:pt idx="2">
                  <c:v>3247.9999999999891</c:v>
                </c:pt>
                <c:pt idx="3">
                  <c:v>1671.9999999999964</c:v>
                </c:pt>
                <c:pt idx="4">
                  <c:v>1136.9999999999991</c:v>
                </c:pt>
                <c:pt idx="5">
                  <c:v>1669.0000000000946</c:v>
                </c:pt>
                <c:pt idx="6">
                  <c:v>-12200.999999999993</c:v>
                </c:pt>
                <c:pt idx="7">
                  <c:v>570.00000000004729</c:v>
                </c:pt>
                <c:pt idx="8">
                  <c:v>2680.9999999999818</c:v>
                </c:pt>
                <c:pt idx="9">
                  <c:v>3507.9999999999563</c:v>
                </c:pt>
                <c:pt idx="10">
                  <c:v>398</c:v>
                </c:pt>
                <c:pt idx="11">
                  <c:v>14967.999999999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59-4186-9714-ABA7869144D8}"/>
            </c:ext>
          </c:extLst>
        </c:ser>
        <c:ser>
          <c:idx val="2"/>
          <c:order val="2"/>
          <c:tx>
            <c:strRef>
              <c:f>'imminization import data (2)'!$D$6:$D$7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2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2)'!$D$8:$D$19</c:f>
              <c:numCache>
                <c:formatCode>_(* #,##0_);_(* \(#,##0\);_(* "-"??_);_(@_)</c:formatCode>
                <c:ptCount val="12"/>
                <c:pt idx="0">
                  <c:v>5022.99999999996</c:v>
                </c:pt>
                <c:pt idx="1">
                  <c:v>1921.9999999999854</c:v>
                </c:pt>
                <c:pt idx="2">
                  <c:v>5431.0000000000255</c:v>
                </c:pt>
                <c:pt idx="3">
                  <c:v>517.00000000000546</c:v>
                </c:pt>
                <c:pt idx="4">
                  <c:v>1300.9999999999909</c:v>
                </c:pt>
                <c:pt idx="5">
                  <c:v>5560.9999999999127</c:v>
                </c:pt>
                <c:pt idx="6">
                  <c:v>-19989.000000000007</c:v>
                </c:pt>
                <c:pt idx="7">
                  <c:v>1108.9999999999709</c:v>
                </c:pt>
                <c:pt idx="8">
                  <c:v>4232.0000000000582</c:v>
                </c:pt>
                <c:pt idx="9">
                  <c:v>7518.00000000004</c:v>
                </c:pt>
                <c:pt idx="10">
                  <c:v>671</c:v>
                </c:pt>
                <c:pt idx="11">
                  <c:v>14791.9999999998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B59-4186-9714-ABA7869144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981920"/>
        <c:axId val="577750432"/>
      </c:barChart>
      <c:catAx>
        <c:axId val="5709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7750432"/>
        <c:crosses val="autoZero"/>
        <c:auto val="1"/>
        <c:lblAlgn val="ctr"/>
        <c:lblOffset val="100"/>
        <c:noMultiLvlLbl val="0"/>
      </c:catAx>
      <c:valAx>
        <c:axId val="577750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0981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zerodose class charts by levels.xlsx]imminization import data (3)!PivotTable1</c:name>
    <c:fmtId val="58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 sz="2800" dirty="0"/>
              <a:t>فوق العام من اجل التحقق و الاتساق</a:t>
            </a:r>
            <a:r>
              <a:rPr lang="ar-SA" sz="2800" baseline="0" dirty="0"/>
              <a:t> مع البيانات الداخلية </a:t>
            </a:r>
            <a:endParaRPr lang="en-US" sz="28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3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1.3297872340425532E-2"/>
          <c:y val="0.28346097277790899"/>
          <c:w val="0.97340425531914898"/>
          <c:h val="0.468493316517959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mminization import data (3)'!$B$6:$B$7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3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3)'!$B$8:$B$19</c:f>
              <c:numCache>
                <c:formatCode>_(* #,##0_);_(* \(#,##0\);_(* "-"??_);_(@_)</c:formatCode>
                <c:ptCount val="12"/>
                <c:pt idx="0">
                  <c:v>19</c:v>
                </c:pt>
                <c:pt idx="1">
                  <c:v>39</c:v>
                </c:pt>
                <c:pt idx="2">
                  <c:v>362</c:v>
                </c:pt>
                <c:pt idx="3">
                  <c:v>116</c:v>
                </c:pt>
                <c:pt idx="4">
                  <c:v>29</c:v>
                </c:pt>
                <c:pt idx="5">
                  <c:v>718</c:v>
                </c:pt>
                <c:pt idx="6">
                  <c:v>523</c:v>
                </c:pt>
                <c:pt idx="7">
                  <c:v>526</c:v>
                </c:pt>
                <c:pt idx="8">
                  <c:v>52</c:v>
                </c:pt>
                <c:pt idx="9">
                  <c:v>297</c:v>
                </c:pt>
                <c:pt idx="10">
                  <c:v>1</c:v>
                </c:pt>
                <c:pt idx="11">
                  <c:v>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26-46BB-A54A-A44A348FE37D}"/>
            </c:ext>
          </c:extLst>
        </c:ser>
        <c:ser>
          <c:idx val="1"/>
          <c:order val="1"/>
          <c:tx>
            <c:strRef>
              <c:f>'imminization import data (3)'!$C$6:$C$7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3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3)'!$C$8:$C$19</c:f>
              <c:numCache>
                <c:formatCode>_(* #,##0_);_(* \(#,##0\);_(* "-"??_);_(@_)</c:formatCode>
                <c:ptCount val="12"/>
                <c:pt idx="0">
                  <c:v>0</c:v>
                </c:pt>
                <c:pt idx="1">
                  <c:v>75</c:v>
                </c:pt>
                <c:pt idx="2">
                  <c:v>468</c:v>
                </c:pt>
                <c:pt idx="3">
                  <c:v>94</c:v>
                </c:pt>
                <c:pt idx="4">
                  <c:v>15</c:v>
                </c:pt>
                <c:pt idx="5">
                  <c:v>441</c:v>
                </c:pt>
                <c:pt idx="6">
                  <c:v>890</c:v>
                </c:pt>
                <c:pt idx="7">
                  <c:v>574</c:v>
                </c:pt>
                <c:pt idx="8">
                  <c:v>26</c:v>
                </c:pt>
                <c:pt idx="9">
                  <c:v>136</c:v>
                </c:pt>
                <c:pt idx="10">
                  <c:v>0</c:v>
                </c:pt>
                <c:pt idx="11">
                  <c:v>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26-46BB-A54A-A44A348FE37D}"/>
            </c:ext>
          </c:extLst>
        </c:ser>
        <c:ser>
          <c:idx val="2"/>
          <c:order val="2"/>
          <c:tx>
            <c:strRef>
              <c:f>'imminization import data (3)'!$D$6:$D$7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minization import data (3)'!$A$8:$A$19</c:f>
              <c:strCache>
                <c:ptCount val="12"/>
                <c:pt idx="0">
                  <c:v>Abyen</c:v>
                </c:pt>
                <c:pt idx="1">
                  <c:v>Aden</c:v>
                </c:pt>
                <c:pt idx="2">
                  <c:v>Al_Dhale'a</c:v>
                </c:pt>
                <c:pt idx="3">
                  <c:v>Al_Hodydah</c:v>
                </c:pt>
                <c:pt idx="4">
                  <c:v>AL_Mahrah</c:v>
                </c:pt>
                <c:pt idx="5">
                  <c:v>Lahj</c:v>
                </c:pt>
                <c:pt idx="6">
                  <c:v>Ma'areb</c:v>
                </c:pt>
                <c:pt idx="7">
                  <c:v>Moklla</c:v>
                </c:pt>
                <c:pt idx="8">
                  <c:v>Say'on</c:v>
                </c:pt>
                <c:pt idx="9">
                  <c:v>Shabwah</c:v>
                </c:pt>
                <c:pt idx="10">
                  <c:v>Socatra</c:v>
                </c:pt>
                <c:pt idx="11">
                  <c:v>Taiz</c:v>
                </c:pt>
              </c:strCache>
            </c:strRef>
          </c:cat>
          <c:val>
            <c:numRef>
              <c:f>'imminization import data (3)'!$D$8:$D$19</c:f>
              <c:numCache>
                <c:formatCode>_(* #,##0_);_(* \(#,##0\);_(* "-"??_);_(@_)</c:formatCode>
                <c:ptCount val="12"/>
                <c:pt idx="0">
                  <c:v>11</c:v>
                </c:pt>
                <c:pt idx="1">
                  <c:v>123</c:v>
                </c:pt>
                <c:pt idx="2">
                  <c:v>351</c:v>
                </c:pt>
                <c:pt idx="3">
                  <c:v>73</c:v>
                </c:pt>
                <c:pt idx="4">
                  <c:v>14</c:v>
                </c:pt>
                <c:pt idx="5">
                  <c:v>686</c:v>
                </c:pt>
                <c:pt idx="6">
                  <c:v>1098</c:v>
                </c:pt>
                <c:pt idx="7">
                  <c:v>1259</c:v>
                </c:pt>
                <c:pt idx="8">
                  <c:v>16</c:v>
                </c:pt>
                <c:pt idx="9">
                  <c:v>75</c:v>
                </c:pt>
                <c:pt idx="10">
                  <c:v>0</c:v>
                </c:pt>
                <c:pt idx="11">
                  <c:v>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26-46BB-A54A-A44A348FE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70981920"/>
        <c:axId val="577750432"/>
      </c:barChart>
      <c:catAx>
        <c:axId val="570981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77750432"/>
        <c:crosses val="autoZero"/>
        <c:auto val="1"/>
        <c:lblAlgn val="ctr"/>
        <c:lblOffset val="100"/>
        <c:noMultiLvlLbl val="0"/>
      </c:catAx>
      <c:valAx>
        <c:axId val="57775043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crossAx val="570981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ook1]Sheet2!PivotTable1</c:name>
    <c:fmtId val="5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>
        <c:manualLayout>
          <c:layoutTarget val="inner"/>
          <c:xMode val="edge"/>
          <c:yMode val="edge"/>
          <c:x val="0.30875568678915133"/>
          <c:y val="0.10968759113444156"/>
          <c:w val="0.56859995625546811"/>
          <c:h val="0.89031240886555851"/>
        </c:manualLayout>
      </c:layout>
      <c:pieChart>
        <c:varyColors val="1"/>
        <c:ser>
          <c:idx val="0"/>
          <c:order val="0"/>
          <c:tx>
            <c:strRef>
              <c:f>Sheet2!$B$3</c:f>
              <c:strCache>
                <c:ptCount val="1"/>
                <c:pt idx="0">
                  <c:v>Total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DF-414C-B862-09DF5DC761C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DF-414C-B862-09DF5DC761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A$4:$A$6</c:f>
              <c:strCache>
                <c:ptCount val="2"/>
                <c:pt idx="0">
                  <c:v>has Targrt data</c:v>
                </c:pt>
                <c:pt idx="1">
                  <c:v>nodata</c:v>
                </c:pt>
              </c:strCache>
            </c:strRef>
          </c:cat>
          <c:val>
            <c:numRef>
              <c:f>Sheet2!$B$4:$B$6</c:f>
              <c:numCache>
                <c:formatCode>General</c:formatCode>
                <c:ptCount val="2"/>
                <c:pt idx="0">
                  <c:v>1167</c:v>
                </c:pt>
                <c:pt idx="1">
                  <c:v>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DF-414C-B862-09DF5DC761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pivotSource>
    <c:name>[Book1]Sheet2 (2)!PivotTable1</c:name>
    <c:fmtId val="10"/>
  </c:pivotSource>
  <c:chart>
    <c:autoTitleDeleted val="1"/>
    <c:pivotFmts>
      <c:pivotFmt>
        <c:idx val="0"/>
        <c:dLbl>
          <c:idx val="0"/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  <c:marker>
          <c:symbol val="circle"/>
          <c:size val="6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</c:pivotFmt>
      <c:pivotFmt>
        <c:idx val="3"/>
      </c:pivotFmt>
      <c:pivotFmt>
        <c:idx val="4"/>
        <c:spPr>
          <a:noFill/>
          <a:ln>
            <a:solidFill>
              <a:schemeClr val="accent1"/>
            </a:solidFill>
          </a:ln>
          <a:effectLst/>
        </c:spPr>
      </c:pivotFmt>
      <c:pivotFmt>
        <c:idx val="5"/>
        <c:spPr>
          <a:gradFill rotWithShape="1">
            <a:gsLst>
              <a:gs pos="0">
                <a:schemeClr val="accent1">
                  <a:tint val="5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5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5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7"/>
        <c:spPr>
          <a:gradFill rotWithShape="1">
            <a:gsLst>
              <a:gs pos="0">
                <a:schemeClr val="accent1">
                  <a:shade val="4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4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4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8"/>
        <c:spPr>
          <a:gradFill rotWithShape="1">
            <a:gsLst>
              <a:gs pos="0">
                <a:schemeClr val="accent1">
                  <a:shade val="5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5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5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9"/>
        <c:spPr>
          <a:gradFill rotWithShape="1">
            <a:gsLst>
              <a:gs pos="0">
                <a:schemeClr val="accent1">
                  <a:shade val="6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6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6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0"/>
        <c:spPr>
          <a:gradFill rotWithShape="1">
            <a:gsLst>
              <a:gs pos="0">
                <a:schemeClr val="accent1">
                  <a:shade val="7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7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7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1"/>
        <c:spPr>
          <a:gradFill rotWithShape="1">
            <a:gsLst>
              <a:gs pos="0">
                <a:schemeClr val="accent1">
                  <a:shade val="8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8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8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2"/>
        <c:spPr>
          <a:gradFill rotWithShape="1">
            <a:gsLst>
              <a:gs pos="0">
                <a:schemeClr val="accent1">
                  <a:shade val="9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9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9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3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4"/>
        <c:spPr>
          <a:gradFill rotWithShape="1">
            <a:gsLst>
              <a:gs pos="0">
                <a:schemeClr val="accent1">
                  <a:tint val="9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9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9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5"/>
        <c:spPr>
          <a:gradFill rotWithShape="1">
            <a:gsLst>
              <a:gs pos="0">
                <a:schemeClr val="accent1">
                  <a:tint val="8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8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8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6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7"/>
        <c:spPr>
          <a:gradFill rotWithShape="1">
            <a:gsLst>
              <a:gs pos="0">
                <a:schemeClr val="accent1">
                  <a:tint val="6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6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6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8"/>
        <c:spPr>
          <a:gradFill rotWithShape="1">
            <a:gsLst>
              <a:gs pos="0">
                <a:schemeClr val="accent1">
                  <a:tint val="5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5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5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19"/>
        <c:spPr>
          <a:noFill/>
          <a:ln>
            <a:solidFill>
              <a:schemeClr val="accent1"/>
            </a:solidFill>
          </a:ln>
          <a:effectLst/>
        </c:spPr>
      </c:pivotFmt>
      <c:pivotFmt>
        <c:idx val="2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gradFill rotWithShape="1">
            <a:gsLst>
              <a:gs pos="0">
                <a:schemeClr val="accent1">
                  <a:shade val="4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4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4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2"/>
        <c:spPr>
          <a:gradFill rotWithShape="1">
            <a:gsLst>
              <a:gs pos="0">
                <a:schemeClr val="accent1">
                  <a:shade val="5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5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5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3"/>
        <c:spPr>
          <a:gradFill rotWithShape="1">
            <a:gsLst>
              <a:gs pos="0">
                <a:schemeClr val="accent1">
                  <a:shade val="6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6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6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4"/>
        <c:spPr>
          <a:gradFill rotWithShape="1">
            <a:gsLst>
              <a:gs pos="0">
                <a:schemeClr val="accent1">
                  <a:shade val="7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7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7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5"/>
        <c:spPr>
          <a:gradFill rotWithShape="1">
            <a:gsLst>
              <a:gs pos="0">
                <a:schemeClr val="accent1">
                  <a:shade val="8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8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8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6"/>
        <c:spPr>
          <a:gradFill rotWithShape="1">
            <a:gsLst>
              <a:gs pos="0">
                <a:schemeClr val="accent1">
                  <a:shade val="9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hade val="9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shade val="9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7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8"/>
        <c:spPr>
          <a:gradFill rotWithShape="1">
            <a:gsLst>
              <a:gs pos="0">
                <a:schemeClr val="accent1">
                  <a:tint val="9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9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9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29"/>
        <c:spPr>
          <a:gradFill rotWithShape="1">
            <a:gsLst>
              <a:gs pos="0">
                <a:schemeClr val="accent1">
                  <a:tint val="8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8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8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30"/>
        <c:spPr>
          <a:gradFill rotWithShape="1">
            <a:gsLst>
              <a:gs pos="0">
                <a:schemeClr val="accent1">
                  <a:satMod val="103000"/>
                  <a:lumMod val="102000"/>
                  <a:tint val="94000"/>
                </a:schemeClr>
              </a:gs>
              <a:gs pos="50000">
                <a:schemeClr val="accent1"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31"/>
        <c:spPr>
          <a:gradFill rotWithShape="1">
            <a:gsLst>
              <a:gs pos="0">
                <a:schemeClr val="accent1">
                  <a:tint val="6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6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6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32"/>
        <c:spPr>
          <a:gradFill rotWithShape="1">
            <a:gsLst>
              <a:gs pos="0">
                <a:schemeClr val="accent1">
                  <a:tint val="50000"/>
                  <a:satMod val="103000"/>
                  <a:lumMod val="102000"/>
                  <a:tint val="94000"/>
                </a:schemeClr>
              </a:gs>
              <a:gs pos="50000">
                <a:schemeClr val="accent1">
                  <a:tint val="50000"/>
                  <a:satMod val="110000"/>
                  <a:lumMod val="100000"/>
                  <a:shade val="100000"/>
                </a:schemeClr>
              </a:gs>
              <a:gs pos="100000">
                <a:schemeClr val="accent1">
                  <a:tint val="50000"/>
                  <a:lumMod val="99000"/>
                  <a:satMod val="120000"/>
                  <a:shade val="78000"/>
                </a:schemeClr>
              </a:gs>
            </a:gsLst>
            <a:lin ang="5400000" scaled="0"/>
          </a:gradFill>
          <a:ln>
            <a:solidFill>
              <a:schemeClr val="accent1"/>
            </a:solidFill>
          </a:ln>
          <a:effectLst/>
        </c:spPr>
      </c:pivotFmt>
      <c:pivotFmt>
        <c:idx val="33"/>
        <c:spPr>
          <a:noFill/>
          <a:ln>
            <a:solidFill>
              <a:schemeClr val="accent1"/>
            </a:solidFill>
          </a:ln>
          <a:effectLst/>
        </c:spPr>
      </c:pivotFmt>
    </c:pivotFmts>
    <c:plotArea>
      <c:layout>
        <c:manualLayout>
          <c:layoutTarget val="inner"/>
          <c:xMode val="edge"/>
          <c:yMode val="edge"/>
          <c:x val="9.1012457398049126E-2"/>
          <c:y val="1.3695868846090555E-2"/>
          <c:w val="0.7358858267716536"/>
          <c:h val="0.87500021834297592"/>
        </c:manualLayout>
      </c:layout>
      <c:pieChart>
        <c:varyColors val="1"/>
        <c:ser>
          <c:idx val="0"/>
          <c:order val="0"/>
          <c:tx>
            <c:strRef>
              <c:f>'Sheet2 (2)'!$B$3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4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4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4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F2A-41E3-AA62-4D84FFB724C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1">
                      <a:shade val="5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5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5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F2A-41E3-AA62-4D84FFB724C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1">
                      <a:shade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F2A-41E3-AA62-4D84FFB724C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1">
                      <a:shade val="7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7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7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F2A-41E3-AA62-4D84FFB724C2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1">
                      <a:shade val="8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8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8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F2A-41E3-AA62-4D84FFB724C2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1">
                      <a:shade val="9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hade val="9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shade val="9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F2A-41E3-AA62-4D84FFB724C2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F2A-41E3-AA62-4D84FFB724C2}"/>
              </c:ext>
            </c:extLst>
          </c:dPt>
          <c:dPt>
            <c:idx val="7"/>
            <c:bubble3D val="0"/>
            <c:spPr>
              <a:gradFill rotWithShape="1">
                <a:gsLst>
                  <a:gs pos="0">
                    <a:schemeClr val="accent1">
                      <a:tint val="9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tint val="9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tint val="9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F2A-41E3-AA62-4D84FFB724C2}"/>
              </c:ext>
            </c:extLst>
          </c:dPt>
          <c:dPt>
            <c:idx val="8"/>
            <c:bubble3D val="0"/>
            <c:spPr>
              <a:gradFill rotWithShape="1">
                <a:gsLst>
                  <a:gs pos="0">
                    <a:schemeClr val="accent1">
                      <a:tint val="8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tint val="8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tint val="8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F2A-41E3-AA62-4D84FFB724C2}"/>
              </c:ext>
            </c:extLst>
          </c:dPt>
          <c:dPt>
            <c:idx val="9"/>
            <c:bubble3D val="0"/>
            <c:spPr>
              <a:gradFill rotWithShape="1">
                <a:gsLst>
                  <a:gs pos="0">
                    <a:schemeClr val="accent1">
                      <a:tint val="7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tint val="7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tint val="7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F2A-41E3-AA62-4D84FFB724C2}"/>
              </c:ext>
            </c:extLst>
          </c:dPt>
          <c:dPt>
            <c:idx val="10"/>
            <c:bubble3D val="0"/>
            <c:spPr>
              <a:gradFill rotWithShape="1">
                <a:gsLst>
                  <a:gs pos="0">
                    <a:schemeClr val="accent1">
                      <a:tint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tint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tint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F2A-41E3-AA62-4D84FFB724C2}"/>
              </c:ext>
            </c:extLst>
          </c:dPt>
          <c:dPt>
            <c:idx val="11"/>
            <c:bubble3D val="0"/>
            <c:spPr>
              <a:gradFill rotWithShape="1">
                <a:gsLst>
                  <a:gs pos="0">
                    <a:schemeClr val="accent1">
                      <a:tint val="5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tint val="5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tint val="5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F2A-41E3-AA62-4D84FFB724C2}"/>
              </c:ext>
            </c:extLst>
          </c:dPt>
          <c:dPt>
            <c:idx val="12"/>
            <c:bubble3D val="0"/>
            <c:spPr>
              <a:noFill/>
              <a:ln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AF2A-41E3-AA62-4D84FFB724C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heet2 (2)'!$A$4:$A$17</c:f>
              <c:strCache>
                <c:ptCount val="1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</c:strCache>
            </c:strRef>
          </c:cat>
          <c:val>
            <c:numRef>
              <c:f>'Sheet2 (2)'!$B$4:$B$17</c:f>
              <c:numCache>
                <c:formatCode>General</c:formatCode>
                <c:ptCount val="13"/>
                <c:pt idx="0">
                  <c:v>57</c:v>
                </c:pt>
                <c:pt idx="1">
                  <c:v>49</c:v>
                </c:pt>
                <c:pt idx="2">
                  <c:v>27</c:v>
                </c:pt>
                <c:pt idx="3">
                  <c:v>46</c:v>
                </c:pt>
                <c:pt idx="4">
                  <c:v>42</c:v>
                </c:pt>
                <c:pt idx="5">
                  <c:v>44</c:v>
                </c:pt>
                <c:pt idx="6">
                  <c:v>34</c:v>
                </c:pt>
                <c:pt idx="7">
                  <c:v>37</c:v>
                </c:pt>
                <c:pt idx="8">
                  <c:v>56</c:v>
                </c:pt>
                <c:pt idx="9">
                  <c:v>73</c:v>
                </c:pt>
                <c:pt idx="10">
                  <c:v>130</c:v>
                </c:pt>
                <c:pt idx="11">
                  <c:v>261</c:v>
                </c:pt>
                <c:pt idx="12">
                  <c:v>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AF2A-41E3-AA62-4D84FFB724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ook1]Sheet2 (2)!PivotTable1</c:name>
    <c:fmtId val="13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2.0289313704160601E-2"/>
          <c:y val="4.946191906890858E-2"/>
          <c:w val="0.95942137259167881"/>
          <c:h val="0.868658158015739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heet2 (2)'!$B$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Sheet2 (2)'!$A$4:$A$17</c:f>
              <c:strCache>
                <c:ptCount val="1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</c:strCache>
            </c:strRef>
          </c:cat>
          <c:val>
            <c:numRef>
              <c:f>'Sheet2 (2)'!$B$4:$B$17</c:f>
              <c:numCache>
                <c:formatCode>General</c:formatCode>
                <c:ptCount val="13"/>
                <c:pt idx="0">
                  <c:v>57</c:v>
                </c:pt>
                <c:pt idx="1">
                  <c:v>49</c:v>
                </c:pt>
                <c:pt idx="2">
                  <c:v>27</c:v>
                </c:pt>
                <c:pt idx="3">
                  <c:v>46</c:v>
                </c:pt>
                <c:pt idx="4">
                  <c:v>42</c:v>
                </c:pt>
                <c:pt idx="5">
                  <c:v>44</c:v>
                </c:pt>
                <c:pt idx="6">
                  <c:v>34</c:v>
                </c:pt>
                <c:pt idx="7">
                  <c:v>37</c:v>
                </c:pt>
                <c:pt idx="8">
                  <c:v>56</c:v>
                </c:pt>
                <c:pt idx="9">
                  <c:v>73</c:v>
                </c:pt>
                <c:pt idx="10">
                  <c:v>130</c:v>
                </c:pt>
                <c:pt idx="11">
                  <c:v>261</c:v>
                </c:pt>
                <c:pt idx="12">
                  <c:v>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356-460B-BFEF-FAB378013C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9378159"/>
        <c:axId val="969690191"/>
      </c:barChart>
      <c:catAx>
        <c:axId val="819378159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969690191"/>
        <c:crosses val="autoZero"/>
        <c:auto val="1"/>
        <c:lblAlgn val="ctr"/>
        <c:lblOffset val="100"/>
        <c:noMultiLvlLbl val="0"/>
      </c:catAx>
      <c:valAx>
        <c:axId val="969690191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1937815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Zero dose children, Globa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Zero dose childre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06-4568-A5FA-6BABC389B79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06-4568-A5FA-6BABC389B79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06-4568-A5FA-6BABC389B79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06-4568-A5FA-6BABC389B79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706-4568-A5FA-6BABC389B79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706-4568-A5FA-6BABC389B79D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706-4568-A5FA-6BABC389B7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FR</c:v>
                </c:pt>
                <c:pt idx="1">
                  <c:v>AMR</c:v>
                </c:pt>
                <c:pt idx="2">
                  <c:v>EMR</c:v>
                </c:pt>
                <c:pt idx="3">
                  <c:v>EUR</c:v>
                </c:pt>
                <c:pt idx="4">
                  <c:v>SEAR</c:v>
                </c:pt>
                <c:pt idx="5">
                  <c:v>WPR</c:v>
                </c:pt>
              </c:strCache>
            </c:strRef>
          </c:cat>
          <c:val>
            <c:numRef>
              <c:f>Sheet1!$B$2:$B$7</c:f>
              <c:numCache>
                <c:formatCode>_-* #,##0_-;\-* #,##0_-;_-* "-"??_-;_-@_-</c:formatCode>
                <c:ptCount val="6"/>
                <c:pt idx="0">
                  <c:v>7701041</c:v>
                </c:pt>
                <c:pt idx="1">
                  <c:v>1892622</c:v>
                </c:pt>
                <c:pt idx="2">
                  <c:v>2080933</c:v>
                </c:pt>
                <c:pt idx="3">
                  <c:v>336725</c:v>
                </c:pt>
                <c:pt idx="4">
                  <c:v>4649933</c:v>
                </c:pt>
                <c:pt idx="5">
                  <c:v>1586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706-4568-A5FA-6BABC389B79D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24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F Target</a:t>
            </a:r>
            <a:r>
              <a:rPr lang="en-US" baseline="0"/>
              <a:t> under 1  with Penta1  tire1 (Fixed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>
        <c:manualLayout>
          <c:layoutTarget val="inner"/>
          <c:xMode val="edge"/>
          <c:yMode val="edge"/>
          <c:x val="0.27918085338146958"/>
          <c:y val="0.11555265856668578"/>
          <c:w val="0.51436461067366568"/>
          <c:h val="0.8572743511227761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BA-4916-BD6A-166C257441F4}"/>
              </c:ext>
            </c:extLst>
          </c:dPt>
          <c:dPt>
            <c:idx val="1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BA-4916-BD6A-166C257441F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BA-4916-BD6A-166C257441F4}"/>
              </c:ext>
            </c:extLst>
          </c:dPt>
          <c:dPt>
            <c:idx val="3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DBA-4916-BD6A-166C257441F4}"/>
              </c:ext>
            </c:extLst>
          </c:dPt>
          <c:dLbls>
            <c:dLbl>
              <c:idx val="1"/>
              <c:layout>
                <c:manualLayout>
                  <c:x val="-0.12024047389333251"/>
                  <c:y val="-4.293337504997314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DBA-4916-BD6A-166C257441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heet2 (4)'!$G$5:$G$8</c:f>
              <c:strCache>
                <c:ptCount val="4"/>
                <c:pt idx="0">
                  <c:v>HAS Target</c:v>
                </c:pt>
                <c:pt idx="1">
                  <c:v>7-9 months Penta1 &gt;Target</c:v>
                </c:pt>
                <c:pt idx="2">
                  <c:v>10-12 Months Penta 1&gt; Target</c:v>
                </c:pt>
                <c:pt idx="3">
                  <c:v>nodata</c:v>
                </c:pt>
              </c:strCache>
            </c:strRef>
          </c:cat>
          <c:val>
            <c:numRef>
              <c:f>'Sheet2 (4)'!$H$5:$H$8</c:f>
              <c:numCache>
                <c:formatCode>General</c:formatCode>
                <c:ptCount val="4"/>
                <c:pt idx="0">
                  <c:v>539</c:v>
                </c:pt>
                <c:pt idx="1">
                  <c:v>249</c:v>
                </c:pt>
                <c:pt idx="2">
                  <c:v>379</c:v>
                </c:pt>
                <c:pt idx="3">
                  <c:v>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BA-4916-BD6A-166C257441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Book1]Sheet2!PivotTable1</c:name>
    <c:fmtId val="5"/>
  </c:pivotSource>
  <c:chart>
    <c:autoTitleDeleted val="1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4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1"/>
          <c:showSerName val="0"/>
          <c:showPercent val="1"/>
          <c:showBubbleSize val="0"/>
          <c:separator>
</c:separator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</c:pivotFmt>
    </c:pivotFmts>
    <c:plotArea>
      <c:layout>
        <c:manualLayout>
          <c:layoutTarget val="inner"/>
          <c:xMode val="edge"/>
          <c:yMode val="edge"/>
          <c:x val="0.30875568678915133"/>
          <c:y val="0.10968759113444156"/>
          <c:w val="0.56859995625546811"/>
          <c:h val="0.89031240886555851"/>
        </c:manualLayout>
      </c:layout>
      <c:pieChart>
        <c:varyColors val="1"/>
        <c:ser>
          <c:idx val="0"/>
          <c:order val="0"/>
          <c:tx>
            <c:strRef>
              <c:f>Sheet2!$B$3</c:f>
              <c:strCache>
                <c:ptCount val="1"/>
                <c:pt idx="0">
                  <c:v>Total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DF-414C-B862-09DF5DC761C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DF-414C-B862-09DF5DC761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A$4:$A$6</c:f>
              <c:strCache>
                <c:ptCount val="2"/>
                <c:pt idx="0">
                  <c:v>has Targrt data</c:v>
                </c:pt>
                <c:pt idx="1">
                  <c:v>nodata</c:v>
                </c:pt>
              </c:strCache>
            </c:strRef>
          </c:cat>
          <c:val>
            <c:numRef>
              <c:f>Sheet2!$B$4:$B$6</c:f>
              <c:numCache>
                <c:formatCode>General</c:formatCode>
                <c:ptCount val="2"/>
                <c:pt idx="0">
                  <c:v>1167</c:v>
                </c:pt>
                <c:pt idx="1">
                  <c:v>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DF-414C-B862-09DF5DC761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F Target</a:t>
            </a:r>
            <a:r>
              <a:rPr lang="en-US" baseline="0"/>
              <a:t> under 1  with Penta1  tire1 (Fixed)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>
        <c:manualLayout>
          <c:layoutTarget val="inner"/>
          <c:xMode val="edge"/>
          <c:yMode val="edge"/>
          <c:x val="0.27263100017636133"/>
          <c:y val="0.11555265856668578"/>
          <c:w val="0.51436461067366568"/>
          <c:h val="0.85727435112277617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7F-4B22-B0E0-309BF2A66673}"/>
              </c:ext>
            </c:extLst>
          </c:dPt>
          <c:dPt>
            <c:idx val="1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7F-4B22-B0E0-309BF2A6667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7F-4B22-B0E0-309BF2A66673}"/>
              </c:ext>
            </c:extLst>
          </c:dPt>
          <c:dPt>
            <c:idx val="3"/>
            <c:bubble3D val="0"/>
            <c:explosion val="13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7F-4B22-B0E0-309BF2A66673}"/>
              </c:ext>
            </c:extLst>
          </c:dPt>
          <c:dLbls>
            <c:dLbl>
              <c:idx val="1"/>
              <c:layout>
                <c:manualLayout>
                  <c:x val="-0.12024047389333251"/>
                  <c:y val="-4.293337504997314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57F-4B22-B0E0-309BF2A666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Sheet2 (4)'!$G$5:$G$8</c:f>
              <c:strCache>
                <c:ptCount val="4"/>
                <c:pt idx="0">
                  <c:v>HAS Target</c:v>
                </c:pt>
                <c:pt idx="1">
                  <c:v>7-9 months Penta1 &gt;Target</c:v>
                </c:pt>
                <c:pt idx="2">
                  <c:v>10-12 Months Penta 1&gt; Target</c:v>
                </c:pt>
                <c:pt idx="3">
                  <c:v>nodata</c:v>
                </c:pt>
              </c:strCache>
            </c:strRef>
          </c:cat>
          <c:val>
            <c:numRef>
              <c:f>'Sheet2 (4)'!$H$5:$H$8</c:f>
              <c:numCache>
                <c:formatCode>General</c:formatCode>
                <c:ptCount val="4"/>
                <c:pt idx="0">
                  <c:v>539</c:v>
                </c:pt>
                <c:pt idx="1">
                  <c:v>249</c:v>
                </c:pt>
                <c:pt idx="2">
                  <c:v>379</c:v>
                </c:pt>
                <c:pt idx="3">
                  <c:v>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7F-4B22-B0E0-309BF2A666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pivotSource>
    <c:name>[HAS correct target.xlsx]Penta1&gt;T by months!PivotTable1</c:name>
    <c:fmtId val="30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ar-SA" b="1" dirty="0"/>
              <a:t>عدد التكرارات لعدد المرافق </a:t>
            </a:r>
            <a:r>
              <a:rPr lang="ar-SA" b="1" baseline="0" dirty="0"/>
              <a:t> التي حدث فيها الجرعة الأولى اكبر من المستهدف </a:t>
            </a:r>
            <a:endParaRPr lang="en-US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ivotFmts>
      <c:pivotFmt>
        <c:idx val="0"/>
        <c:spPr>
          <a:solidFill>
            <a:srgbClr val="FF0000"/>
          </a:solidFill>
          <a:ln>
            <a:noFill/>
          </a:ln>
          <a:effectLst/>
        </c:spPr>
        <c:marker>
          <c:symbol val="none"/>
        </c:marker>
      </c:pivotFmt>
      <c:pivotFmt>
        <c:idx val="1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</c:pivotFmt>
      <c:pivotFmt>
        <c:idx val="2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</c:pivotFmt>
      <c:pivotFmt>
        <c:idx val="3"/>
        <c:spPr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19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  <c:pivotFmt>
        <c:idx val="2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</c:pivotFmt>
    </c:pivotFmts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Penta1&gt;T by months'!$B$3:$B$5</c:f>
              <c:strCache>
                <c:ptCount val="1"/>
                <c:pt idx="0">
                  <c:v>10-12 months Penta1&gt; Target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nta1&gt;T by months'!$A$6:$A$17</c:f>
              <c:strCache>
                <c:ptCount val="12"/>
                <c:pt idx="0">
                  <c:v> JAN</c:v>
                </c:pt>
                <c:pt idx="1">
                  <c:v> FEB</c:v>
                </c:pt>
                <c:pt idx="2">
                  <c:v> MAR</c:v>
                </c:pt>
                <c:pt idx="3">
                  <c:v> Apr</c:v>
                </c:pt>
                <c:pt idx="4">
                  <c:v> May</c:v>
                </c:pt>
                <c:pt idx="5">
                  <c:v> June</c:v>
                </c:pt>
                <c:pt idx="6">
                  <c:v> July</c:v>
                </c:pt>
                <c:pt idx="7">
                  <c:v> Aug</c:v>
                </c:pt>
                <c:pt idx="8">
                  <c:v> Sep</c:v>
                </c:pt>
                <c:pt idx="9">
                  <c:v> Oct</c:v>
                </c:pt>
                <c:pt idx="10">
                  <c:v> Nov</c:v>
                </c:pt>
                <c:pt idx="11">
                  <c:v> Dec</c:v>
                </c:pt>
              </c:strCache>
            </c:strRef>
          </c:cat>
          <c:val>
            <c:numRef>
              <c:f>'Penta1&gt;T by months'!$B$6:$B$17</c:f>
              <c:numCache>
                <c:formatCode>General</c:formatCode>
                <c:ptCount val="12"/>
                <c:pt idx="0">
                  <c:v>360</c:v>
                </c:pt>
                <c:pt idx="1">
                  <c:v>362</c:v>
                </c:pt>
                <c:pt idx="2">
                  <c:v>361</c:v>
                </c:pt>
                <c:pt idx="3">
                  <c:v>292</c:v>
                </c:pt>
                <c:pt idx="4">
                  <c:v>354</c:v>
                </c:pt>
                <c:pt idx="5">
                  <c:v>356</c:v>
                </c:pt>
                <c:pt idx="6">
                  <c:v>344</c:v>
                </c:pt>
                <c:pt idx="7">
                  <c:v>365</c:v>
                </c:pt>
                <c:pt idx="8">
                  <c:v>360</c:v>
                </c:pt>
                <c:pt idx="9">
                  <c:v>360</c:v>
                </c:pt>
                <c:pt idx="10">
                  <c:v>365</c:v>
                </c:pt>
                <c:pt idx="11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63-480E-959A-E77A4590DF3C}"/>
            </c:ext>
          </c:extLst>
        </c:ser>
        <c:ser>
          <c:idx val="1"/>
          <c:order val="1"/>
          <c:tx>
            <c:strRef>
              <c:f>'Penta1&gt;T by months'!$C$3:$C$5</c:f>
              <c:strCache>
                <c:ptCount val="1"/>
                <c:pt idx="0">
                  <c:v>7-9 months Penta1&gt; Target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nta1&gt;T by months'!$A$6:$A$17</c:f>
              <c:strCache>
                <c:ptCount val="12"/>
                <c:pt idx="0">
                  <c:v> JAN</c:v>
                </c:pt>
                <c:pt idx="1">
                  <c:v> FEB</c:v>
                </c:pt>
                <c:pt idx="2">
                  <c:v> MAR</c:v>
                </c:pt>
                <c:pt idx="3">
                  <c:v> Apr</c:v>
                </c:pt>
                <c:pt idx="4">
                  <c:v> May</c:v>
                </c:pt>
                <c:pt idx="5">
                  <c:v> June</c:v>
                </c:pt>
                <c:pt idx="6">
                  <c:v> July</c:v>
                </c:pt>
                <c:pt idx="7">
                  <c:v> Aug</c:v>
                </c:pt>
                <c:pt idx="8">
                  <c:v> Sep</c:v>
                </c:pt>
                <c:pt idx="9">
                  <c:v> Oct</c:v>
                </c:pt>
                <c:pt idx="10">
                  <c:v> Nov</c:v>
                </c:pt>
                <c:pt idx="11">
                  <c:v> Dec</c:v>
                </c:pt>
              </c:strCache>
            </c:strRef>
          </c:cat>
          <c:val>
            <c:numRef>
              <c:f>'Penta1&gt;T by months'!$C$6:$C$17</c:f>
              <c:numCache>
                <c:formatCode>General</c:formatCode>
                <c:ptCount val="12"/>
                <c:pt idx="0">
                  <c:v>178</c:v>
                </c:pt>
                <c:pt idx="1">
                  <c:v>155</c:v>
                </c:pt>
                <c:pt idx="2">
                  <c:v>187</c:v>
                </c:pt>
                <c:pt idx="3">
                  <c:v>111</c:v>
                </c:pt>
                <c:pt idx="4">
                  <c:v>175</c:v>
                </c:pt>
                <c:pt idx="5">
                  <c:v>169</c:v>
                </c:pt>
                <c:pt idx="6">
                  <c:v>149</c:v>
                </c:pt>
                <c:pt idx="7">
                  <c:v>188</c:v>
                </c:pt>
                <c:pt idx="8">
                  <c:v>175</c:v>
                </c:pt>
                <c:pt idx="9">
                  <c:v>191</c:v>
                </c:pt>
                <c:pt idx="10">
                  <c:v>185</c:v>
                </c:pt>
                <c:pt idx="11">
                  <c:v>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63-480E-959A-E77A4590DF3C}"/>
            </c:ext>
          </c:extLst>
        </c:ser>
        <c:ser>
          <c:idx val="2"/>
          <c:order val="2"/>
          <c:tx>
            <c:strRef>
              <c:f>'Penta1&gt;T by months'!$D$3:$D$5</c:f>
              <c:strCache>
                <c:ptCount val="1"/>
                <c:pt idx="0">
                  <c:v>Has Targe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nta1&gt;T by months'!$A$6:$A$17</c:f>
              <c:strCache>
                <c:ptCount val="12"/>
                <c:pt idx="0">
                  <c:v> JAN</c:v>
                </c:pt>
                <c:pt idx="1">
                  <c:v> FEB</c:v>
                </c:pt>
                <c:pt idx="2">
                  <c:v> MAR</c:v>
                </c:pt>
                <c:pt idx="3">
                  <c:v> Apr</c:v>
                </c:pt>
                <c:pt idx="4">
                  <c:v> May</c:v>
                </c:pt>
                <c:pt idx="5">
                  <c:v> June</c:v>
                </c:pt>
                <c:pt idx="6">
                  <c:v> July</c:v>
                </c:pt>
                <c:pt idx="7">
                  <c:v> Aug</c:v>
                </c:pt>
                <c:pt idx="8">
                  <c:v> Sep</c:v>
                </c:pt>
                <c:pt idx="9">
                  <c:v> Oct</c:v>
                </c:pt>
                <c:pt idx="10">
                  <c:v> Nov</c:v>
                </c:pt>
                <c:pt idx="11">
                  <c:v> Dec</c:v>
                </c:pt>
              </c:strCache>
            </c:strRef>
          </c:cat>
          <c:val>
            <c:numRef>
              <c:f>'Penta1&gt;T by months'!$D$6:$D$17</c:f>
              <c:numCache>
                <c:formatCode>General</c:formatCode>
                <c:ptCount val="12"/>
                <c:pt idx="0">
                  <c:v>148</c:v>
                </c:pt>
                <c:pt idx="1">
                  <c:v>127</c:v>
                </c:pt>
                <c:pt idx="2">
                  <c:v>144</c:v>
                </c:pt>
                <c:pt idx="3">
                  <c:v>69</c:v>
                </c:pt>
                <c:pt idx="4">
                  <c:v>140</c:v>
                </c:pt>
                <c:pt idx="5">
                  <c:v>132</c:v>
                </c:pt>
                <c:pt idx="6">
                  <c:v>94</c:v>
                </c:pt>
                <c:pt idx="7">
                  <c:v>124</c:v>
                </c:pt>
                <c:pt idx="8">
                  <c:v>99</c:v>
                </c:pt>
                <c:pt idx="9">
                  <c:v>134</c:v>
                </c:pt>
                <c:pt idx="10">
                  <c:v>121</c:v>
                </c:pt>
                <c:pt idx="11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63-480E-959A-E77A4590DF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32061023"/>
        <c:axId val="1015105647"/>
      </c:barChart>
      <c:catAx>
        <c:axId val="11320610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1015105647"/>
        <c:crosses val="autoZero"/>
        <c:auto val="1"/>
        <c:lblAlgn val="ctr"/>
        <c:lblOffset val="100"/>
        <c:noMultiLvlLbl val="0"/>
      </c:catAx>
      <c:valAx>
        <c:axId val="10151056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1132061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862" b="1" i="0" u="none" strike="noStrike" kern="1200" spc="0" baseline="0" dirty="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pPr>
            <a:r>
              <a:rPr lang="en-US" sz="1862" b="1" i="0" u="none" strike="noStrike" kern="1200" spc="0" baseline="0" dirty="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Measles zero dose children, EMR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862" b="1" i="0" u="none" strike="noStrike" kern="1200" spc="0" baseline="0" dirty="0">
              <a:solidFill>
                <a:schemeClr val="tx1"/>
              </a:solidFill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defRPr>
          </a:pPr>
          <a:endParaRPr lang="ar-Y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95-4372-A4C3-96ED17E4BF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95-4372-A4C3-96ED17E4BF6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995-4372-A4C3-96ED17E4BF6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EC3-40CD-AC4D-E54326539CB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995-4372-A4C3-96ED17E4BF6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995-4372-A4C3-96ED17E4BF6D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FEC3-40CD-AC4D-E54326539CB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0995-4372-A4C3-96ED17E4BF6D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FEC3-40CD-AC4D-E54326539CB6}"/>
                </c:ext>
              </c:extLst>
            </c:dLbl>
            <c:dLbl>
              <c:idx val="6"/>
              <c:layout>
                <c:manualLayout>
                  <c:x val="0.11249290004446783"/>
                  <c:y val="0.1202723604595833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EC3-40CD-AC4D-E54326539C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Pakistan</c:v>
                </c:pt>
                <c:pt idx="1">
                  <c:v>Afghanistan</c:v>
                </c:pt>
                <c:pt idx="2">
                  <c:v>Somalia</c:v>
                </c:pt>
                <c:pt idx="3">
                  <c:v>Yemen</c:v>
                </c:pt>
                <c:pt idx="4">
                  <c:v>Syria</c:v>
                </c:pt>
                <c:pt idx="5">
                  <c:v>Iraq</c:v>
                </c:pt>
                <c:pt idx="6">
                  <c:v>Sudan</c:v>
                </c:pt>
                <c:pt idx="7">
                  <c:v>Others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1160072</c:v>
                </c:pt>
                <c:pt idx="1">
                  <c:v>513397</c:v>
                </c:pt>
                <c:pt idx="2">
                  <c:v>380192</c:v>
                </c:pt>
                <c:pt idx="3">
                  <c:v>281322</c:v>
                </c:pt>
                <c:pt idx="4">
                  <c:v>172181</c:v>
                </c:pt>
                <c:pt idx="5">
                  <c:v>292635</c:v>
                </c:pt>
                <c:pt idx="6">
                  <c:v>275340</c:v>
                </c:pt>
                <c:pt idx="7" formatCode="General">
                  <c:v>232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C3-40CD-AC4D-E54326539CB6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Measles zero dose children, Global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Zero dose childre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06-4568-A5FA-6BABC389B79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06-4568-A5FA-6BABC389B79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06-4568-A5FA-6BABC389B79D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06-4568-A5FA-6BABC389B79D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706-4568-A5FA-6BABC389B79D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706-4568-A5FA-6BABC389B79D}"/>
              </c:ext>
            </c:extLst>
          </c:dPt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YE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706-4568-A5FA-6BABC389B7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AFR</c:v>
                </c:pt>
                <c:pt idx="1">
                  <c:v>AMR</c:v>
                </c:pt>
                <c:pt idx="2">
                  <c:v>EMR</c:v>
                </c:pt>
                <c:pt idx="3">
                  <c:v>EUR</c:v>
                </c:pt>
                <c:pt idx="4">
                  <c:v>SEAR</c:v>
                </c:pt>
                <c:pt idx="5">
                  <c:v>WPR</c:v>
                </c:pt>
              </c:strCache>
            </c:strRef>
          </c:cat>
          <c:val>
            <c:numRef>
              <c:f>Sheet1!$B$2:$B$7</c:f>
              <c:numCache>
                <c:formatCode>_-* #,##0_-;\-* #,##0_-;_-* "-"??_-;_-@_-</c:formatCode>
                <c:ptCount val="6"/>
                <c:pt idx="0">
                  <c:v>12288909</c:v>
                </c:pt>
                <c:pt idx="1">
                  <c:v>2150132</c:v>
                </c:pt>
                <c:pt idx="2">
                  <c:v>3357096</c:v>
                </c:pt>
                <c:pt idx="3">
                  <c:v>599788</c:v>
                </c:pt>
                <c:pt idx="4">
                  <c:v>4611277</c:v>
                </c:pt>
                <c:pt idx="5">
                  <c:v>1651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706-4568-A5FA-6BABC389B79D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211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Request 2'!$AL$5</c:f>
              <c:strCache>
                <c:ptCount val="1"/>
                <c:pt idx="0">
                  <c:v>EMRO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Request 2'!$AK$6:$AK$17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'Request 2'!$AL$6:$AL$17</c:f>
              <c:numCache>
                <c:formatCode>General</c:formatCode>
                <c:ptCount val="12"/>
                <c:pt idx="0">
                  <c:v>83</c:v>
                </c:pt>
                <c:pt idx="1">
                  <c:v>86</c:v>
                </c:pt>
                <c:pt idx="2">
                  <c:v>85</c:v>
                </c:pt>
                <c:pt idx="3">
                  <c:v>85</c:v>
                </c:pt>
                <c:pt idx="4">
                  <c:v>86</c:v>
                </c:pt>
                <c:pt idx="5">
                  <c:v>86</c:v>
                </c:pt>
                <c:pt idx="6">
                  <c:v>86</c:v>
                </c:pt>
                <c:pt idx="7">
                  <c:v>87</c:v>
                </c:pt>
                <c:pt idx="8">
                  <c:v>89</c:v>
                </c:pt>
                <c:pt idx="9">
                  <c:v>90</c:v>
                </c:pt>
                <c:pt idx="10">
                  <c:v>87</c:v>
                </c:pt>
                <c:pt idx="11">
                  <c:v>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FB-42C8-9612-104D5A083099}"/>
            </c:ext>
          </c:extLst>
        </c:ser>
        <c:ser>
          <c:idx val="1"/>
          <c:order val="1"/>
          <c:tx>
            <c:strRef>
              <c:f>'Request 2'!$AM$5</c:f>
              <c:strCache>
                <c:ptCount val="1"/>
                <c:pt idx="0">
                  <c:v>Gavi countrie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equest 2'!$AK$6:$AK$17</c:f>
              <c:numCache>
                <c:formatCode>General</c:formatCode>
                <c:ptCount val="12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</c:numCache>
            </c:numRef>
          </c:cat>
          <c:val>
            <c:numRef>
              <c:f>'Request 2'!$AM$6:$AM$17</c:f>
              <c:numCache>
                <c:formatCode>0</c:formatCode>
                <c:ptCount val="12"/>
                <c:pt idx="0">
                  <c:v>73.518640185220079</c:v>
                </c:pt>
                <c:pt idx="1">
                  <c:v>78.871746614537201</c:v>
                </c:pt>
                <c:pt idx="2">
                  <c:v>78.215212025098509</c:v>
                </c:pt>
                <c:pt idx="3">
                  <c:v>77.803225074481304</c:v>
                </c:pt>
                <c:pt idx="4">
                  <c:v>79.404290036499177</c:v>
                </c:pt>
                <c:pt idx="5">
                  <c:v>79.954662458550345</c:v>
                </c:pt>
                <c:pt idx="6">
                  <c:v>79.858036482729659</c:v>
                </c:pt>
                <c:pt idx="7">
                  <c:v>80.873248181206193</c:v>
                </c:pt>
                <c:pt idx="8">
                  <c:v>83.771218845280515</c:v>
                </c:pt>
                <c:pt idx="9">
                  <c:v>85.346057488977905</c:v>
                </c:pt>
                <c:pt idx="10">
                  <c:v>81.513872044773265</c:v>
                </c:pt>
                <c:pt idx="11">
                  <c:v>84.4341222102108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FB-42C8-9612-104D5A0830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09061472"/>
        <c:axId val="609076032"/>
      </c:lineChart>
      <c:catAx>
        <c:axId val="60906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609076032"/>
        <c:crosses val="autoZero"/>
        <c:auto val="1"/>
        <c:lblAlgn val="ctr"/>
        <c:lblOffset val="100"/>
        <c:noMultiLvlLbl val="0"/>
      </c:catAx>
      <c:valAx>
        <c:axId val="609076032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Coverage (%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609061472"/>
        <c:crosses val="autoZero"/>
        <c:crossBetween val="between"/>
      </c:valAx>
      <c:spPr>
        <a:noFill/>
        <a:ln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Diphtheria Tetanus Toxoid and Pertussis (DTP) vaccination coverage 2022-05-09 16-19 UTC.xlsx]Sheet2!PivotTable3</c:name>
    <c:fmtId val="5"/>
  </c:pivotSource>
  <c:chart>
    <c:autoTitleDeleted val="0"/>
    <c:pivotFmts>
      <c:pivotFmt>
        <c:idx val="0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0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3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4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5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1"/>
          <c:showVal val="1"/>
          <c:showCatName val="1"/>
          <c:showSerName val="1"/>
          <c:showPercent val="1"/>
          <c:showBubbleSize val="1"/>
          <c:extLst>
            <c:ext xmlns:c15="http://schemas.microsoft.com/office/drawing/2012/chart" uri="{CE6537A1-D6FC-4f65-9D91-7224C49458BB}"/>
          </c:extLst>
        </c:dLbl>
      </c:pivotFmt>
      <c:pivotFmt>
        <c:idx val="1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7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18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9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0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1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2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3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4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5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</c:pivotFmt>
      <c:pivotFmt>
        <c:idx val="26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7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8"/>
        <c:spPr>
          <a:solidFill>
            <a:schemeClr val="accent1"/>
          </a:solidFill>
          <a:ln w="28575" cap="rnd">
            <a:solidFill>
              <a:schemeClr val="accent3">
                <a:lumMod val="40000"/>
                <a:lumOff val="60000"/>
              </a:schemeClr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ctr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9"/>
        <c:spPr>
          <a:solidFill>
            <a:schemeClr val="accent1"/>
          </a:solidFill>
          <a:ln w="28575" cap="rnd">
            <a:solidFill>
              <a:schemeClr val="accent1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0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1"/>
        <c:spPr>
          <a:solidFill>
            <a:schemeClr val="accent1"/>
          </a:solidFill>
          <a:ln w="28575" cap="rnd">
            <a:solidFill>
              <a:srgbClr val="002060"/>
            </a:solidFill>
            <a:round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20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ar-YE"/>
            </a:p>
          </c:txPr>
          <c:dLblPos val="b"/>
          <c:showLegendKey val="0"/>
          <c:showVal val="1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lineChart>
        <c:grouping val="standard"/>
        <c:varyColors val="0"/>
        <c:ser>
          <c:idx val="0"/>
          <c:order val="0"/>
          <c:tx>
            <c:strRef>
              <c:f>Sheet2!$B$3:$B$5</c:f>
              <c:strCache>
                <c:ptCount val="1"/>
                <c:pt idx="0">
                  <c:v>ADMIN - DTP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Sheet2!$A$6:$A$2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Sheet2!$B$6:$B$28</c:f>
              <c:numCache>
                <c:formatCode>General</c:formatCode>
                <c:ptCount val="22"/>
                <c:pt idx="0">
                  <c:v>88</c:v>
                </c:pt>
                <c:pt idx="1">
                  <c:v>89</c:v>
                </c:pt>
                <c:pt idx="2">
                  <c:v>74</c:v>
                </c:pt>
                <c:pt idx="3">
                  <c:v>81</c:v>
                </c:pt>
                <c:pt idx="4">
                  <c:v>93</c:v>
                </c:pt>
                <c:pt idx="5">
                  <c:v>102</c:v>
                </c:pt>
                <c:pt idx="6">
                  <c:v>92</c:v>
                </c:pt>
                <c:pt idx="7">
                  <c:v>94</c:v>
                </c:pt>
                <c:pt idx="8">
                  <c:v>93</c:v>
                </c:pt>
                <c:pt idx="9">
                  <c:v>92</c:v>
                </c:pt>
                <c:pt idx="10">
                  <c:v>93.7</c:v>
                </c:pt>
                <c:pt idx="11">
                  <c:v>88.64</c:v>
                </c:pt>
                <c:pt idx="12">
                  <c:v>88.69</c:v>
                </c:pt>
                <c:pt idx="13">
                  <c:v>94.37</c:v>
                </c:pt>
                <c:pt idx="14">
                  <c:v>93.7</c:v>
                </c:pt>
                <c:pt idx="15">
                  <c:v>89.18</c:v>
                </c:pt>
                <c:pt idx="16">
                  <c:v>87.75</c:v>
                </c:pt>
                <c:pt idx="17">
                  <c:v>88</c:v>
                </c:pt>
                <c:pt idx="18">
                  <c:v>87.17</c:v>
                </c:pt>
                <c:pt idx="19">
                  <c:v>93</c:v>
                </c:pt>
                <c:pt idx="20">
                  <c:v>95</c:v>
                </c:pt>
                <c:pt idx="21">
                  <c:v>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71A-452C-92F3-264DA7588A42}"/>
            </c:ext>
          </c:extLst>
        </c:ser>
        <c:ser>
          <c:idx val="1"/>
          <c:order val="1"/>
          <c:tx>
            <c:strRef>
              <c:f>Sheet2!$C$3:$C$5</c:f>
              <c:strCache>
                <c:ptCount val="1"/>
                <c:pt idx="0">
                  <c:v>WUENIC - DTP1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2!$A$6:$A$28</c:f>
              <c:strCache>
                <c:ptCount val="2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  <c:pt idx="19">
                  <c:v>2019</c:v>
                </c:pt>
                <c:pt idx="20">
                  <c:v>2020</c:v>
                </c:pt>
                <c:pt idx="21">
                  <c:v>2021</c:v>
                </c:pt>
              </c:strCache>
            </c:strRef>
          </c:cat>
          <c:val>
            <c:numRef>
              <c:f>Sheet2!$C$6:$C$28</c:f>
              <c:numCache>
                <c:formatCode>General</c:formatCode>
                <c:ptCount val="22"/>
                <c:pt idx="0">
                  <c:v>88</c:v>
                </c:pt>
                <c:pt idx="1">
                  <c:v>87</c:v>
                </c:pt>
                <c:pt idx="2">
                  <c:v>72</c:v>
                </c:pt>
                <c:pt idx="3">
                  <c:v>77</c:v>
                </c:pt>
                <c:pt idx="4">
                  <c:v>89</c:v>
                </c:pt>
                <c:pt idx="5">
                  <c:v>88</c:v>
                </c:pt>
                <c:pt idx="6">
                  <c:v>86</c:v>
                </c:pt>
                <c:pt idx="7">
                  <c:v>88</c:v>
                </c:pt>
                <c:pt idx="8">
                  <c:v>85</c:v>
                </c:pt>
                <c:pt idx="9">
                  <c:v>84</c:v>
                </c:pt>
                <c:pt idx="10">
                  <c:v>84</c:v>
                </c:pt>
                <c:pt idx="11">
                  <c:v>79</c:v>
                </c:pt>
                <c:pt idx="12">
                  <c:v>77</c:v>
                </c:pt>
                <c:pt idx="13">
                  <c:v>82</c:v>
                </c:pt>
                <c:pt idx="14">
                  <c:v>82</c:v>
                </c:pt>
                <c:pt idx="15">
                  <c:v>77</c:v>
                </c:pt>
                <c:pt idx="16">
                  <c:v>76</c:v>
                </c:pt>
                <c:pt idx="17">
                  <c:v>76</c:v>
                </c:pt>
                <c:pt idx="18">
                  <c:v>75</c:v>
                </c:pt>
                <c:pt idx="19">
                  <c:v>81</c:v>
                </c:pt>
                <c:pt idx="20">
                  <c:v>83</c:v>
                </c:pt>
                <c:pt idx="21">
                  <c:v>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71A-452C-92F3-264DA7588A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23259872"/>
        <c:axId val="524077744"/>
      </c:lineChart>
      <c:catAx>
        <c:axId val="523259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24077744"/>
        <c:crosses val="autoZero"/>
        <c:auto val="1"/>
        <c:lblAlgn val="ctr"/>
        <c:lblOffset val="100"/>
        <c:noMultiLvlLbl val="0"/>
      </c:catAx>
      <c:valAx>
        <c:axId val="524077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523259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ar-YE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A Historical Coverage of Penta3 for 17 Years with Fixed and Outreach 2005 - 2021</a:t>
            </a:r>
          </a:p>
        </c:rich>
      </c:tx>
      <c:layout>
        <c:manualLayout>
          <c:xMode val="edge"/>
          <c:yMode val="edge"/>
          <c:x val="0.14983092833374628"/>
          <c:y val="4.277947438060061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0861775862722205E-3"/>
          <c:y val="0.23606870300810817"/>
          <c:w val="0.99622711511489659"/>
          <c:h val="0.63058916400299758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'إيصالي للسنوات'!$B$7</c:f>
              <c:strCache>
                <c:ptCount val="1"/>
                <c:pt idx="0">
                  <c:v>Fixed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إيصالي للسنوات'!$C$3:$S$6</c:f>
              <c:strCache>
                <c:ptCount val="3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8</c:v>
                </c:pt>
                <c:pt idx="18">
                  <c:v>28</c:v>
                </c:pt>
                <c:pt idx="19">
                  <c:v>30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5</c:v>
                </c:pt>
                <c:pt idx="24">
                  <c:v>25</c:v>
                </c:pt>
                <c:pt idx="25">
                  <c:v>29</c:v>
                </c:pt>
                <c:pt idx="26">
                  <c:v>28</c:v>
                </c:pt>
                <c:pt idx="27">
                  <c:v>29</c:v>
                </c:pt>
                <c:pt idx="28">
                  <c:v>33</c:v>
                </c:pt>
                <c:pt idx="29">
                  <c:v>31</c:v>
                </c:pt>
                <c:pt idx="30">
                  <c:v>25</c:v>
                </c:pt>
                <c:pt idx="31">
                  <c:v>32</c:v>
                </c:pt>
                <c:pt idx="32">
                  <c:v>30</c:v>
                </c:pt>
                <c:pt idx="33">
                  <c:v>31.7</c:v>
                </c:pt>
              </c:strCache>
            </c:strRef>
          </c:cat>
          <c:val>
            <c:numRef>
              <c:f>'إيصالي للسنوات'!$C$7:$S$7</c:f>
              <c:numCache>
                <c:formatCode>0</c:formatCode>
                <c:ptCount val="17"/>
                <c:pt idx="0" formatCode="General">
                  <c:v>57</c:v>
                </c:pt>
                <c:pt idx="1">
                  <c:v>56.945795023786374</c:v>
                </c:pt>
                <c:pt idx="2">
                  <c:v>57</c:v>
                </c:pt>
                <c:pt idx="3">
                  <c:v>59.243678843732063</c:v>
                </c:pt>
                <c:pt idx="4">
                  <c:v>58.711531319028595</c:v>
                </c:pt>
                <c:pt idx="5">
                  <c:v>60.330176674149961</c:v>
                </c:pt>
                <c:pt idx="6">
                  <c:v>56.015536327589508</c:v>
                </c:pt>
                <c:pt idx="7">
                  <c:v>57</c:v>
                </c:pt>
                <c:pt idx="8">
                  <c:v>59</c:v>
                </c:pt>
                <c:pt idx="9">
                  <c:v>60</c:v>
                </c:pt>
                <c:pt idx="10">
                  <c:v>54.874936610303195</c:v>
                </c:pt>
                <c:pt idx="11">
                  <c:v>53</c:v>
                </c:pt>
                <c:pt idx="12">
                  <c:v>52</c:v>
                </c:pt>
                <c:pt idx="13" formatCode="General">
                  <c:v>55</c:v>
                </c:pt>
                <c:pt idx="14">
                  <c:v>56</c:v>
                </c:pt>
                <c:pt idx="15">
                  <c:v>57</c:v>
                </c:pt>
                <c:pt idx="16" formatCode="0.0">
                  <c:v>5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82-4560-BBDC-F0F47B25E8EA}"/>
            </c:ext>
          </c:extLst>
        </c:ser>
        <c:ser>
          <c:idx val="0"/>
          <c:order val="1"/>
          <c:tx>
            <c:strRef>
              <c:f>'إيصالي للسنوات'!$B$4</c:f>
              <c:strCache>
                <c:ptCount val="1"/>
                <c:pt idx="0">
                  <c:v>خارج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إيصالي للسنوات'!$C$3:$S$6</c:f>
              <c:strCache>
                <c:ptCount val="3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8</c:v>
                </c:pt>
                <c:pt idx="18">
                  <c:v>28</c:v>
                </c:pt>
                <c:pt idx="19">
                  <c:v>30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5</c:v>
                </c:pt>
                <c:pt idx="24">
                  <c:v>25</c:v>
                </c:pt>
                <c:pt idx="25">
                  <c:v>29</c:v>
                </c:pt>
                <c:pt idx="26">
                  <c:v>28</c:v>
                </c:pt>
                <c:pt idx="27">
                  <c:v>29</c:v>
                </c:pt>
                <c:pt idx="28">
                  <c:v>33</c:v>
                </c:pt>
                <c:pt idx="29">
                  <c:v>31</c:v>
                </c:pt>
                <c:pt idx="30">
                  <c:v>25</c:v>
                </c:pt>
                <c:pt idx="31">
                  <c:v>32</c:v>
                </c:pt>
                <c:pt idx="32">
                  <c:v>30</c:v>
                </c:pt>
                <c:pt idx="33">
                  <c:v>31.7</c:v>
                </c:pt>
              </c:strCache>
            </c:strRef>
          </c:cat>
          <c:val>
            <c:numRef>
              <c:f>'إيصالي للسنوات'!$D$4:$M$4</c:f>
            </c:numRef>
          </c:val>
          <c:extLst>
            <c:ext xmlns:c16="http://schemas.microsoft.com/office/drawing/2014/chart" uri="{C3380CC4-5D6E-409C-BE32-E72D297353CC}">
              <c16:uniqueId val="{00000001-AB82-4560-BBDC-F0F47B25E8EA}"/>
            </c:ext>
          </c:extLst>
        </c:ser>
        <c:ser>
          <c:idx val="1"/>
          <c:order val="2"/>
          <c:tx>
            <c:strRef>
              <c:f>'إيصالي للسنوات'!$B$5</c:f>
              <c:strCache>
                <c:ptCount val="1"/>
                <c:pt idx="0">
                  <c:v>متحرك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إيصالي للسنوات'!$C$3:$S$6</c:f>
              <c:strCache>
                <c:ptCount val="3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8</c:v>
                </c:pt>
                <c:pt idx="18">
                  <c:v>28</c:v>
                </c:pt>
                <c:pt idx="19">
                  <c:v>30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5</c:v>
                </c:pt>
                <c:pt idx="24">
                  <c:v>25</c:v>
                </c:pt>
                <c:pt idx="25">
                  <c:v>29</c:v>
                </c:pt>
                <c:pt idx="26">
                  <c:v>28</c:v>
                </c:pt>
                <c:pt idx="27">
                  <c:v>29</c:v>
                </c:pt>
                <c:pt idx="28">
                  <c:v>33</c:v>
                </c:pt>
                <c:pt idx="29">
                  <c:v>31</c:v>
                </c:pt>
                <c:pt idx="30">
                  <c:v>25</c:v>
                </c:pt>
                <c:pt idx="31">
                  <c:v>32</c:v>
                </c:pt>
                <c:pt idx="32">
                  <c:v>30</c:v>
                </c:pt>
                <c:pt idx="33">
                  <c:v>31.7</c:v>
                </c:pt>
              </c:strCache>
            </c:strRef>
          </c:cat>
          <c:val>
            <c:numRef>
              <c:f>'إيصالي للسنوات'!$D$5:$M$5</c:f>
            </c:numRef>
          </c:val>
          <c:extLst>
            <c:ext xmlns:c16="http://schemas.microsoft.com/office/drawing/2014/chart" uri="{C3380CC4-5D6E-409C-BE32-E72D297353CC}">
              <c16:uniqueId val="{00000002-AB82-4560-BBDC-F0F47B25E8EA}"/>
            </c:ext>
          </c:extLst>
        </c:ser>
        <c:ser>
          <c:idx val="2"/>
          <c:order val="3"/>
          <c:tx>
            <c:strRef>
              <c:f>'إيصالي للسنوات'!$B$6</c:f>
              <c:strCache>
                <c:ptCount val="1"/>
                <c:pt idx="0">
                  <c:v>Outreach</c:v>
                </c:pt>
              </c:strCache>
            </c:strRef>
          </c:tx>
          <c:spPr>
            <a:solidFill>
              <a:srgbClr val="3F5EA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إيصالي للسنوات'!$C$3:$S$6</c:f>
              <c:strCache>
                <c:ptCount val="34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  <c:pt idx="12">
                  <c:v>2017</c:v>
                </c:pt>
                <c:pt idx="13">
                  <c:v>2018</c:v>
                </c:pt>
                <c:pt idx="14">
                  <c:v>2019</c:v>
                </c:pt>
                <c:pt idx="15">
                  <c:v>2020</c:v>
                </c:pt>
                <c:pt idx="16">
                  <c:v>2021</c:v>
                </c:pt>
                <c:pt idx="17">
                  <c:v>28</c:v>
                </c:pt>
                <c:pt idx="18">
                  <c:v>28</c:v>
                </c:pt>
                <c:pt idx="19">
                  <c:v>30</c:v>
                </c:pt>
                <c:pt idx="20">
                  <c:v>27</c:v>
                </c:pt>
                <c:pt idx="21">
                  <c:v>27</c:v>
                </c:pt>
                <c:pt idx="22">
                  <c:v>27</c:v>
                </c:pt>
                <c:pt idx="23">
                  <c:v>25</c:v>
                </c:pt>
                <c:pt idx="24">
                  <c:v>25</c:v>
                </c:pt>
                <c:pt idx="25">
                  <c:v>29</c:v>
                </c:pt>
                <c:pt idx="26">
                  <c:v>28</c:v>
                </c:pt>
                <c:pt idx="27">
                  <c:v>29</c:v>
                </c:pt>
                <c:pt idx="28">
                  <c:v>33</c:v>
                </c:pt>
                <c:pt idx="29">
                  <c:v>31</c:v>
                </c:pt>
                <c:pt idx="30">
                  <c:v>25</c:v>
                </c:pt>
                <c:pt idx="31">
                  <c:v>32</c:v>
                </c:pt>
                <c:pt idx="32">
                  <c:v>30</c:v>
                </c:pt>
                <c:pt idx="33">
                  <c:v>31.7</c:v>
                </c:pt>
              </c:strCache>
            </c:strRef>
          </c:cat>
          <c:val>
            <c:numRef>
              <c:f>'إيصالي للسنوات'!$C$6:$S$6</c:f>
              <c:numCache>
                <c:formatCode>0</c:formatCode>
                <c:ptCount val="17"/>
                <c:pt idx="0" formatCode="General">
                  <c:v>28</c:v>
                </c:pt>
                <c:pt idx="1">
                  <c:v>27.837769379923955</c:v>
                </c:pt>
                <c:pt idx="2">
                  <c:v>29.690098680563256</c:v>
                </c:pt>
                <c:pt idx="3">
                  <c:v>27.313120506848339</c:v>
                </c:pt>
                <c:pt idx="4">
                  <c:v>26.907714261512098</c:v>
                </c:pt>
                <c:pt idx="5">
                  <c:v>27.145622905215387</c:v>
                </c:pt>
                <c:pt idx="6">
                  <c:v>24.765751291008879</c:v>
                </c:pt>
                <c:pt idx="7">
                  <c:v>25</c:v>
                </c:pt>
                <c:pt idx="8">
                  <c:v>29</c:v>
                </c:pt>
                <c:pt idx="9">
                  <c:v>28</c:v>
                </c:pt>
                <c:pt idx="10">
                  <c:v>29</c:v>
                </c:pt>
                <c:pt idx="11">
                  <c:v>33</c:v>
                </c:pt>
                <c:pt idx="12">
                  <c:v>31</c:v>
                </c:pt>
                <c:pt idx="13" formatCode="General">
                  <c:v>25</c:v>
                </c:pt>
                <c:pt idx="14">
                  <c:v>32</c:v>
                </c:pt>
                <c:pt idx="15">
                  <c:v>30</c:v>
                </c:pt>
                <c:pt idx="16" formatCode="0.0">
                  <c:v>31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B82-4560-BBDC-F0F47B25E8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09296256"/>
        <c:axId val="109306240"/>
      </c:barChart>
      <c:catAx>
        <c:axId val="109296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09306240"/>
        <c:crosses val="autoZero"/>
        <c:auto val="1"/>
        <c:lblAlgn val="ctr"/>
        <c:lblOffset val="100"/>
        <c:noMultiLvlLbl val="0"/>
      </c:catAx>
      <c:valAx>
        <c:axId val="1093062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92962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84072471479071964"/>
          <c:y val="0.15621870081332423"/>
          <c:w val="0.14625158832090543"/>
          <c:h val="7.6058521076032684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ar-Y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none" spc="0" normalizeH="0" baseline="0">
                <a:solidFill>
                  <a:schemeClr val="dk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en-US"/>
              <a:t>EPI HFs Status 2018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none" spc="0" normalizeH="0" baseline="0">
              <a:solidFill>
                <a:schemeClr val="dk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defRPr>
          </a:pPr>
          <a:endParaRPr lang="ar-Y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ورقة1!$B$2</c:f>
              <c:strCache>
                <c:ptCount val="1"/>
                <c:pt idx="0">
                  <c:v>Total Health Facilities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25400" cap="flat" cmpd="sng" algn="ctr">
                <a:solidFill>
                  <a:srgbClr val="FF0000"/>
                </a:solidFill>
                <a:prstDash val="solid"/>
              </a:ln>
              <a:effectLst>
                <a:outerShdw blurRad="38100" dist="25400" dir="2700000" algn="br" rotWithShape="0">
                  <a:srgbClr val="000000">
                    <a:alpha val="60000"/>
                  </a:srgbClr>
                </a:outerShdw>
              </a:effectLst>
            </c:spPr>
            <c:trendlineType val="linear"/>
            <c:dispRSqr val="0"/>
            <c:dispEq val="0"/>
          </c:trendline>
          <c:cat>
            <c:numRef>
              <c:f>ورقة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ورقة1!$B$3:$B$6</c:f>
              <c:numCache>
                <c:formatCode>_(* #,##0_);_(* \(#,##0\);_(* "-"??_);_(@_)</c:formatCode>
                <c:ptCount val="4"/>
                <c:pt idx="0">
                  <c:v>4269</c:v>
                </c:pt>
                <c:pt idx="1">
                  <c:v>4648</c:v>
                </c:pt>
                <c:pt idx="2">
                  <c:v>4903</c:v>
                </c:pt>
                <c:pt idx="3">
                  <c:v>53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A1-4519-A6B1-D394B11E33E9}"/>
            </c:ext>
          </c:extLst>
        </c:ser>
        <c:ser>
          <c:idx val="1"/>
          <c:order val="1"/>
          <c:tx>
            <c:strRef>
              <c:f>ورقة1!$C$2</c:f>
              <c:strCache>
                <c:ptCount val="1"/>
                <c:pt idx="0">
                  <c:v>Functioning Health Facilities 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trendline>
            <c:spPr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38100" dist="25400" dir="2700000" algn="br" rotWithShape="0">
                  <a:srgbClr val="000000">
                    <a:alpha val="60000"/>
                  </a:srgbClr>
                </a:outerShdw>
              </a:effectLst>
            </c:spPr>
            <c:trendlineType val="linear"/>
            <c:dispRSqr val="0"/>
            <c:dispEq val="0"/>
          </c:trendline>
          <c:cat>
            <c:numRef>
              <c:f>ورقة1!$A$3:$A$6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ورقة1!$C$3:$C$6</c:f>
              <c:numCache>
                <c:formatCode>_(* #,##0_);_(* \(#,##0\);_(* "-"??_);_(@_)</c:formatCode>
                <c:ptCount val="4"/>
                <c:pt idx="0">
                  <c:v>3681</c:v>
                </c:pt>
                <c:pt idx="1">
                  <c:v>3755</c:v>
                </c:pt>
                <c:pt idx="2">
                  <c:v>4169</c:v>
                </c:pt>
                <c:pt idx="3">
                  <c:v>42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6A1-4519-A6B1-D394B11E33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67"/>
        <c:overlap val="-43"/>
        <c:axId val="148285992"/>
        <c:axId val="148286320"/>
      </c:barChart>
      <c:catAx>
        <c:axId val="148285992"/>
        <c:scaling>
          <c:orientation val="maxMin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148286320"/>
        <c:crosses val="autoZero"/>
        <c:auto val="1"/>
        <c:lblAlgn val="ctr"/>
        <c:lblOffset val="100"/>
        <c:noMultiLvlLbl val="0"/>
      </c:catAx>
      <c:valAx>
        <c:axId val="148286320"/>
        <c:scaling>
          <c:orientation val="minMax"/>
        </c:scaling>
        <c:delete val="0"/>
        <c:axPos val="r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148285992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</c:legendEntry>
      <c:legendEntry>
        <c:idx val="2"/>
        <c:delete val="1"/>
      </c:legendEntry>
      <c:legendEntry>
        <c:idx val="3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ar-Y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egative Dropout penta 2019-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title>
    <c:autoTitleDeleted val="0"/>
    <c:plotArea>
      <c:layout>
        <c:manualLayout>
          <c:layoutTarget val="inner"/>
          <c:xMode val="edge"/>
          <c:yMode val="edge"/>
          <c:x val="9.0553368328958883E-2"/>
          <c:y val="0.16708333333333336"/>
          <c:w val="0.87889107611548556"/>
          <c:h val="0.614984324876057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Negative dropout'!$A$344</c:f>
              <c:strCache>
                <c:ptCount val="1"/>
                <c:pt idx="0">
                  <c:v>Negative Dropout pent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egative dropout'!$B$343:$D$343</c:f>
              <c:strCache>
                <c:ptCount val="3"/>
                <c:pt idx="0">
                  <c:v>2019y</c:v>
                </c:pt>
                <c:pt idx="1">
                  <c:v>2020y</c:v>
                </c:pt>
                <c:pt idx="2">
                  <c:v>2021y</c:v>
                </c:pt>
              </c:strCache>
            </c:strRef>
          </c:cat>
          <c:val>
            <c:numRef>
              <c:f>'Negative dropout'!$B$344:$D$344</c:f>
              <c:numCache>
                <c:formatCode>_(* #,##0_);_(* \(#,##0\);_(* "-"??_);_(@_)</c:formatCode>
                <c:ptCount val="3"/>
                <c:pt idx="0">
                  <c:v>90</c:v>
                </c:pt>
                <c:pt idx="1">
                  <c:v>48</c:v>
                </c:pt>
                <c:pt idx="2">
                  <c:v>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D53-4835-9E17-95B362614815}"/>
            </c:ext>
          </c:extLst>
        </c:ser>
        <c:ser>
          <c:idx val="1"/>
          <c:order val="1"/>
          <c:tx>
            <c:strRef>
              <c:f>'Negative dropout'!$A$345</c:f>
              <c:strCache>
                <c:ptCount val="1"/>
                <c:pt idx="0">
                  <c:v>%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Y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egative dropout'!$B$343:$D$343</c:f>
              <c:strCache>
                <c:ptCount val="3"/>
                <c:pt idx="0">
                  <c:v>2019y</c:v>
                </c:pt>
                <c:pt idx="1">
                  <c:v>2020y</c:v>
                </c:pt>
                <c:pt idx="2">
                  <c:v>2021y</c:v>
                </c:pt>
              </c:strCache>
            </c:strRef>
          </c:cat>
          <c:val>
            <c:numRef>
              <c:f>'Negative dropout'!$B$345:$D$345</c:f>
              <c:numCache>
                <c:formatCode>0%</c:formatCode>
                <c:ptCount val="3"/>
                <c:pt idx="0">
                  <c:v>0.27027027027027029</c:v>
                </c:pt>
                <c:pt idx="1">
                  <c:v>0.14414414414414414</c:v>
                </c:pt>
                <c:pt idx="2">
                  <c:v>0.1891891891891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D53-4835-9E17-95B3626148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48472704"/>
        <c:axId val="848470624"/>
      </c:barChart>
      <c:catAx>
        <c:axId val="848472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  <c:crossAx val="848470624"/>
        <c:crosses val="autoZero"/>
        <c:auto val="1"/>
        <c:lblAlgn val="ctr"/>
        <c:lblOffset val="100"/>
        <c:noMultiLvlLbl val="0"/>
      </c:catAx>
      <c:valAx>
        <c:axId val="848470624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extTo"/>
        <c:crossAx val="848472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YE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ar-Y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ar-Y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8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Y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7D525FA9-91B0-4EA1-B141-F5096B2C09BF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Y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Y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26BD3919-0919-4A1E-ADA2-39D04A42DA57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825539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gd6f3aac363_0_485:notes"/>
          <p:cNvSpPr txBox="1">
            <a:spLocks noGrp="1"/>
          </p:cNvSpPr>
          <p:nvPr>
            <p:ph type="body" idx="1"/>
          </p:nvPr>
        </p:nvSpPr>
        <p:spPr>
          <a:xfrm>
            <a:off x="685800" y="4343402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r" rtl="1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" name="Google Shape;114;gd6f3aac363_0_48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38764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r" rtl="1">
              <a:buFont typeface="+mj-lt"/>
              <a:buAutoNum type="arabicPeriod"/>
            </a:pPr>
            <a:r>
              <a:rPr lang="ar-SA" dirty="0"/>
              <a:t>واضح جدا انه يوجد مشكلة في تحديد المستهدف لعدد متفاوت من المديريات.</a:t>
            </a:r>
          </a:p>
          <a:p>
            <a:pPr marL="342900" indent="-342900" algn="r" rtl="1">
              <a:buFont typeface="+mj-lt"/>
              <a:buAutoNum type="arabicPeriod"/>
            </a:pPr>
            <a:r>
              <a:rPr lang="ar-SA" dirty="0"/>
              <a:t>المشكلة الأخرى ان هذه المديريات ليس دائما نفسها !! ، وهناك مديريات هي دائما نفسها و تحقق نسب تغطية جرعة خماسي الأولى اعلى من المستهدف و بالتالي فان هذا يعني ان الجرعة الصفرية سيكون عدد سالب و عند تجميع هذا العدد الى مستويات اعلى فان هذا العدد سيلغي عدد جرعة صفرية لمديريات أخرى ، و علينا ان نتسال هل بالضرورة ان هذا العدد السالب هو يتناسب مع مديريات التي هي اقل من 50% ام مديريات أخرى ، هل العدد الجرعة الصفرية في المديريات الأخرى هو حقيقي ، لهذا من الضرورة ان يتم العمل التصحيح لاعداد المستهدف و خصوصا مع ظهور عوامل أخرى مثل التمدن و التوسع السكاني لعدد من المديريات ( المدن الكبيرة او غيرها ) ، هل يوجد تدتخل للسكان في المناطق الحدودية ، أيضا هل يتم بالاخذ لعوامل خارجية  مثل حركة النزوح وخصوصا في الأعوام الأخيرة ، المشكلة هنا هو  ان مستهدف المديريات مطلوب للمانحين  و الجهات الرسمية أيضا  ، هل سيتقبل الجهات المانحة تغير  دائم لاعداد المستهدف ، وهل يجب فعلا ان يقوم فريق المعلومات بتغيير المستهدف ، ومن جهة أخرى الجهة الرسمية مثلا محافظات و مديريات هي تتخوف انها قد تظطر مرة أخرى و أخرى الى إعادة تقدير مستهدفها ، هل سينظر الى اتخاذ  قرار شجاع مثل هذا على انه نوع من الخطوات الفاعلة و المحمودة و المطلوبة  التي ستسهم بشكل كبير ،  من  يجب ان يقوم باقتراح تعديل المستهدف  و بموجب  ماذا ، كيف سينظر القيادات العليا الرسمية الى اجراء كهذا  ، كيف سيقيم المانحون خطوات من هذا النوع ، هل سيفهم على انه تكريس للشفافية و التوجيه الأمثل  للتدخلات ، ماهو الضامن أيضا ان تعديل المستهدف لن يخضع لقرارات ضغوطات سياسية ، ليس اللوم ملقي على عاتق السلطات الحكومية و الرسمية ، انما الجميع بما فيهم المانحون مطلوب منهم ان يشجعوا القيام باجراءات تصحيح المقام و فق أسس علمية و مبنية على الأدلة ،، مثلا استخدام بيانات منظمة الأمم المتحدة نفسها ، وأيضا  يجب ان يستشار في ذلك السلطات المحلية مديريات ومحافظات تقديم وجهات نظر  لبيانات تجمع من الميدان </a:t>
            </a:r>
          </a:p>
          <a:p>
            <a:r>
              <a:rPr lang="ar-SA" dirty="0"/>
              <a:t>، </a:t>
            </a:r>
            <a:endParaRPr lang="ar-YE" dirty="0"/>
          </a:p>
          <a:p>
            <a:endParaRPr lang="ar-Y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D3919-0919-4A1E-ADA2-39D04A42DA57}" type="slidenum">
              <a:rPr lang="ar-YE" smtClean="0"/>
              <a:t>8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3977380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- من أرج</a:t>
            </a:r>
          </a:p>
          <a:p>
            <a:pPr algn="r" rtl="1"/>
            <a:endParaRPr lang="en-US" b="1"/>
          </a:p>
          <a:p>
            <a:pPr algn="r" rtl="1"/>
            <a:endParaRPr lang="en-US" b="1"/>
          </a:p>
          <a:p>
            <a:pPr algn="r" rtl="1"/>
            <a:r>
              <a:rPr lang="en-US" b="1"/>
              <a:t>نقاط الحديث:</a:t>
            </a: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>
                <a:effectLst/>
                <a:latin typeface="+mn-lt"/>
                <a:ea typeface="+mn-ea"/>
                <a:cs typeface="+mn-cs"/>
              </a:rPr>
              <a:t>وطني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غالبًا ما تخفي المتوسطات تباينات جغرافية كبيرة في تغطية التمنيع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في حين أن الفروق المطلقة بين المناطق الحضرية والريفية قد تحسنت على مدى العقد الماضي ، لا تزال التغطية الريفية متخلفة في جميع البلدان تقريبًا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تواجه المناطق الريفية النائية حواجز جغرافية عالية ، مما قد يعقد توصيل الإمدادات أو الوصول إلى مراكز صحية جيدة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/>
              <a:t>على سبيل المثال ، يصعب الوصول إليها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، تؤدي المناطق الأقل كثافة سكانية إلى ارتفاع التكاليف ؛ يمكن أن تكون التكلفة الحدية لتطعيم الطفل في المناطق الريفية أعلى بنسبة تصل إلى 61٪ لكل جرعة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endParaRPr lang="en-US" sz="1200" kern="1200">
              <a:latin typeface="+mn-lt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FABC-0232-47CF-B579-F91EB619B4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8372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- من أرج</a:t>
            </a:r>
          </a:p>
          <a:p>
            <a:pPr algn="r" rtl="1"/>
            <a:endParaRPr lang="en-US" b="1"/>
          </a:p>
          <a:p>
            <a:pPr algn="r" rtl="1"/>
            <a:endParaRPr lang="en-US" b="1"/>
          </a:p>
          <a:p>
            <a:pPr algn="r" rtl="1"/>
            <a:r>
              <a:rPr lang="en-US" b="1"/>
              <a:t>نقاط الحديث:</a:t>
            </a: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>
                <a:effectLst/>
                <a:latin typeface="+mn-lt"/>
                <a:ea typeface="+mn-ea"/>
                <a:cs typeface="+mn-cs"/>
              </a:rPr>
              <a:t>وطني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غالبًا ما تخفي المتوسطات تباينات جغرافية كبيرة في تغطية التمنيع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في حين أن الفروق المطلقة بين المناطق الحضرية والريفية قد تحسنت على مدى العقد الماضي ، لا تزال التغطية الريفية متخلفة في جميع البلدان تقريبًا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تواجه المناطق الريفية النائية حواجز جغرافية عالية ، مما قد يعقد توصيل الإمدادات أو الوصول إلى مراكز صحية جيدة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/>
              <a:t>على سبيل المثال ، يصعب الوصول إليها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، تؤدي المناطق الأقل كثافة سكانية إلى ارتفاع التكاليف ؛ يمكن أن تكون التكلفة الحدية لتطعيم الطفل في المناطق الريفية أعلى بنسبة تصل إلى 61٪ لكل جرعة.</a:t>
            </a:r>
            <a:endParaRPr lang="en-US" sz="1200" kern="1200" baseline="0">
              <a:latin typeface="+mn-lt"/>
              <a:cs typeface="Calibri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endParaRPr lang="en-US" sz="1200" kern="1200">
              <a:latin typeface="+mn-lt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FABC-0232-47CF-B579-F91EB619B4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696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- من أرج</a:t>
            </a:r>
          </a:p>
          <a:p>
            <a:pPr algn="r" rtl="1"/>
            <a:endParaRPr lang="en-US" b="1"/>
          </a:p>
          <a:p>
            <a:pPr algn="r" rtl="1"/>
            <a:endParaRPr lang="en-US" b="1"/>
          </a:p>
          <a:p>
            <a:pPr algn="r" rtl="1"/>
            <a:r>
              <a:rPr lang="en-US" b="1"/>
              <a:t>نقاط الحديث: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حلول عام 2050 ، من المتوقع أن 68٪ من سكان العالم سيفعلون ذلك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عيش في منطقة حضرية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الذي - التي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سيضيف ما يقرب من 2.5 مليار شخص ، مع تركيز 90 ٪ في آسيا وأفريقيا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بينما هناك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البًا ما يُنظر إلى مستويات أعلى للمعيشة وإمكانية أكبر للحصول على الخدمات الصحية في المناطق الحضرية ، وتزيد المناطق عالية الكثافة من مخاطر انتشار الأمراض والتوزيع غير المتكافئ للثروة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من المهم بشكل متزايد أن نفهم كيفية تقديم خدمات عادلة للسكان الذين يتزايد عددهم وتنوعهم وديناميكياتهم</a:t>
            </a:r>
          </a:p>
          <a:p>
            <a:pPr marL="171450" indent="-171450" algn="r" rtl="1">
              <a:buFont typeface="Arial" panose="020B0604020202020204" pitchFamily="34" charset="0"/>
              <a:buChar char="•"/>
              <a:defRPr/>
            </a:pPr>
            <a:r>
              <a:rPr lang="en-US" sz="1200" kern="1200">
                <a:effectLst/>
                <a:latin typeface="+mn-lt"/>
                <a:ea typeface="+mn-ea"/>
                <a:cs typeface="+mn-cs"/>
              </a:rPr>
              <a:t>على عكس المناطق الريفية و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بعيد</a:t>
            </a:r>
            <a:r>
              <a:rPr lang="en-US" sz="1200" kern="1200">
                <a:effectLst/>
                <a:latin typeface="+mn-lt"/>
                <a:ea typeface="+mn-ea"/>
                <a:cs typeface="+mn-cs"/>
              </a:rPr>
              <a:t>المناطق أو الصراع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مناطق</a:t>
            </a:r>
            <a:r>
              <a:rPr lang="en-US" sz="1200" kern="1200">
                <a:effectLst/>
                <a:latin typeface="+mn-lt"/>
                <a:ea typeface="+mn-ea"/>
                <a:cs typeface="+mn-cs"/>
              </a:rPr>
              <a:t>، قليلا من ال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التحدي الرئيسي ينبع من</a:t>
            </a:r>
            <a:r>
              <a:rPr lang="en-US"/>
              <a:t>مجتمع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يطلب</a:t>
            </a:r>
            <a:r>
              <a:rPr lang="en-US">
                <a:cs typeface="Calibri"/>
              </a:rPr>
              <a:t>والوصول</a:t>
            </a:r>
            <a:endParaRPr lang="en-US" sz="1200" kern="1200">
              <a:latin typeface="+mn-lt"/>
              <a:cs typeface="Calibri"/>
            </a:endParaRP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غير محصن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عادة ما يكون السكان من المجموعات المهمشة التي لها روابط أقل بالمؤسسات التقليدية وتكون محرومة مالياً واجتماعياً وغيرها من الفئات المحرومة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عندما تواجه المجتمعات انعدام الأمن أو تخشى عواقب السلطات</a:t>
            </a:r>
            <a:r>
              <a:rPr lang="en-US"/>
              <a:t>عند الوصول إلى الخدمات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، فمن غير المرجح أن يبحثوا عنها</a:t>
            </a:r>
            <a:r>
              <a:rPr lang="en-US"/>
              <a:t>نمط</a:t>
            </a:r>
            <a:r>
              <a:rPr lang="en-US" sz="1200" kern="1200" baseline="0">
                <a:effectLst/>
                <a:latin typeface="+mn-lt"/>
                <a:ea typeface="+mn-ea"/>
                <a:cs typeface="+mn-cs"/>
              </a:rPr>
              <a:t>صحة</a:t>
            </a:r>
            <a:r>
              <a:rPr lang="en-US">
                <a:cs typeface="Calibri"/>
              </a:rPr>
              <a:t>الفحوصات</a:t>
            </a:r>
            <a:endParaRPr lang="en-US" sz="1200" kern="1200" baseline="0">
              <a:latin typeface="+mn-lt"/>
              <a:cs typeface="Calibri"/>
            </a:endParaRP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ضمن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تحديات مع العرض وتغطية البيانات ، v</a:t>
            </a:r>
            <a:r>
              <a:rPr 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أكينا</a:t>
            </a:r>
            <a:r>
              <a:rPr lang="en-US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جب أن تدرك جهود الإنصاف عدم التجانس والمعايير الواسعة النطاق عبر سكان المناطق الحضرية ، وأن تتصدى للحواجز الاجتماعية والثقافية بدلاً من الحواجز المادية التي تحول دون الوصول إلى الخدمات الصحية باعتبارها تحديًا رئيسيًا للتمنيع.</a:t>
            </a:r>
            <a:endParaRPr lang="en-US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FABC-0232-47CF-B579-F91EB619B4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180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- من أرج</a:t>
            </a:r>
          </a:p>
          <a:p>
            <a:pPr algn="r" rtl="1"/>
            <a:endParaRPr lang="en-US" b="1"/>
          </a:p>
          <a:p>
            <a:pPr algn="r" rtl="1"/>
            <a:endParaRPr lang="en-US" b="1"/>
          </a:p>
          <a:p>
            <a:pPr algn="r" rtl="1"/>
            <a:r>
              <a:rPr lang="en-US" b="1"/>
              <a:t>نقاط الحديث: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لتحقيق تغطية التحصين العالمية ، يجب تطعيم أكثر من 10 ملايين طفل إضافي ؛ ثلثي</a:t>
            </a:r>
            <a:r>
              <a:rPr lang="en-GB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هؤلاء الأطفال</a:t>
            </a:r>
            <a:r>
              <a:rPr lang="en-GB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يقيمون في أماكن النزاع حيث تنخفض معدلات التطعيم عادةً</a:t>
            </a:r>
            <a:endParaRPr lang="en-US" sz="1200" kern="1200" baseline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/>
              <a:t>العنف والقوة الجسدية يخلقان اضطرابات</a:t>
            </a:r>
            <a:r>
              <a:rPr lang="en-US" baseline="0"/>
              <a:t>إلى البنية التحتية وسلاسل التوريد من أجل التوصيل الآمن للقاحات</a:t>
            </a:r>
          </a:p>
          <a:p>
            <a:pPr marL="171450" indent="-171450" algn="r" rtl="1">
              <a:buFont typeface="Arial" panose="020B0604020202020204" pitchFamily="34" charset="0"/>
              <a:buChar char="•"/>
            </a:pPr>
            <a:r>
              <a:rPr lang="en-US" baseline="0"/>
              <a:t>تتفاقم هذه التحديات بسبب تشتت السكان وفقدان العاملين في مجال الرعاية الصحية للقيام بالرعاية الصحية الروتينية</a:t>
            </a:r>
          </a:p>
          <a:p>
            <a:pPr marL="171450" marR="0" lvl="0" indent="-17145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نظرًا لأن النزاعات أصبحت أكثر شيوعًا وأطول أمداً وأكثر اضطرابًا ، يجب على أصحاب المصلحة التفكير في كيفية الحفاظ على معدلات التطعيم في فترات العنف والوصول إلى السكان النازحين والمتنقلين وغير الآمنين</a:t>
            </a:r>
            <a:endParaRPr lang="en-US"/>
          </a:p>
          <a:p>
            <a:pPr marL="171450" indent="-171450" algn="r" rtl="1">
              <a:buFont typeface="Arial" panose="020B0604020202020204" pitchFamily="34" charset="0"/>
              <a:buChar char="•"/>
            </a:pPr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FABC-0232-47CF-B579-F91EB619B4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38164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- من أرج</a:t>
            </a:r>
          </a:p>
          <a:p>
            <a:pPr algn="r" rtl="1"/>
            <a:endParaRPr lang="en-US" b="1"/>
          </a:p>
          <a:p>
            <a:pPr algn="r" rtl="1"/>
            <a:endParaRPr lang="en-US" b="1"/>
          </a:p>
          <a:p>
            <a:pPr algn="r" rtl="1"/>
            <a:r>
              <a:rPr lang="en-US" b="1"/>
              <a:t>نقاط الحديث:</a:t>
            </a:r>
          </a:p>
          <a:p>
            <a:pPr marL="285750" indent="-285750" algn="r" rtl="1">
              <a:buFont typeface="Arial" panose="020B0604020202020204" pitchFamily="34" charset="0"/>
              <a:buChar char="•"/>
              <a:defRPr/>
            </a:pPr>
            <a:r>
              <a:rPr lang="en-GB">
                <a:cs typeface="Calibri"/>
              </a:rPr>
              <a:t>إن فهم كيفية تأثير نوع الجنس ، لا سيما بالنسبة لمقدمي الرعاية ، على الأطفال والمراهقين من خلال التحصين أمر أساسي في معالجة أوجه عدم المساواة القائمة</a:t>
            </a:r>
          </a:p>
          <a:p>
            <a:pPr marL="285750" indent="-285750" algn="r" rtl="1">
              <a:buFont typeface="Arial" panose="020B0604020202020204" pitchFamily="34" charset="0"/>
              <a:buChar char="•"/>
              <a:defRPr/>
            </a:pPr>
            <a:r>
              <a:rPr lang="en-GB">
                <a:cs typeface="Calibri"/>
              </a:rPr>
              <a:t>تتقاطع أوجه عدم المساواة بين الجنسين عبر الفجوة بين الريف والحضر ، وغالبًا ما تظهر في صفوف السكان المهمشين جغرافيًا</a:t>
            </a:r>
          </a:p>
          <a:p>
            <a:pPr marL="285750" indent="-285750" algn="r" rtl="1">
              <a:buFont typeface="Arial" panose="020B0604020202020204" pitchFamily="34" charset="0"/>
              <a:buChar char="•"/>
              <a:defRPr/>
            </a:pPr>
            <a:r>
              <a:rPr lang="en-GB">
                <a:cs typeface="Calibri"/>
              </a:rPr>
              <a:t>تواجه الأمهات ، اللاتي يلعبن دور مقدمي الرعاية الأساسيين ، حواجز اجتماعية واقتصادية وديموغرافية وثقافية كبيرة تزيد من تعقيد التحديات المرتبطة بالسياق</a:t>
            </a:r>
          </a:p>
          <a:p>
            <a:pPr marL="285750" indent="-285750" algn="r" rtl="1">
              <a:buFont typeface="Arial" panose="020B0604020202020204" pitchFamily="34" charset="0"/>
              <a:buChar char="•"/>
              <a:defRPr/>
            </a:pPr>
            <a:r>
              <a:rPr lang="en-GB"/>
              <a:t>من الضروري الاعتراف بالمساواة بين الجنسين كمسار رئيسي لتعزيز النظم الصحية ، من خلال الجهود على مستوى المجتمع وكذلك في كل مستوى من مستويات النظام الصحي</a:t>
            </a:r>
            <a:endParaRPr lang="en-GB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3FABC-0232-47CF-B579-F91EB619B4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1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61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4FBA09-B440-4B00-A742-7E0E99D3A6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15CB606-2A15-4E15-8F76-2A92FD09DE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ar-Y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D962B4-60B4-4992-A4A1-6D016D3F8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53EFD2-C8DF-41B1-848C-4DF6D91B64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4EE08E-84A3-47A3-98DB-6EF461064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24376570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85CA72-8219-4013-92A9-3BDB3E2D7E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C6A834-8D3C-45D9-AAEC-4934183AFB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26FFDF-D965-4E90-A570-098B70D04F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6CD9C0-B49D-42CC-A867-9A3F4016B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F3B97C-557D-4C7E-B459-A4F9CECC8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4546388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4B44513-260F-457E-8006-FBEF61CCAA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AB15FD0-3839-4B32-AD01-3ADDABD1E9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8665F0-0987-41D8-ACEF-652576DDFB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4890D-B5CF-4DF8-9C0F-77C2EF251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322973-35AB-4FC4-84A7-361343AF6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38296008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invGray">
          <a:xfrm>
            <a:off x="480485" y="1188003"/>
            <a:ext cx="8160000" cy="288925"/>
          </a:xfrm>
        </p:spPr>
        <p:txBody>
          <a:bodyPr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Ebrima" panose="02000000000000000000" pitchFamily="2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95AA9B7-D085-4E51-89C9-68A9BF2075C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3C89E8-A944-4604-AA09-60E14FAB2BCD}" type="datetime1">
              <a:rPr lang="en-GB"/>
              <a:pPr>
                <a:defRPr/>
              </a:pPr>
              <a:t>01/06/2023</a:t>
            </a:fld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91682878-CE9F-44A9-A881-DC80A6FE1CA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|     Title of the presentation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73AF608-9441-4438-9B93-B45FE47E8B96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2E4479-4ACF-4CC8-90D0-A2C8590ED00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497F7AC-7028-4E54-93BE-2FE681E1B5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600" y="5726668"/>
            <a:ext cx="10058400" cy="113133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A8835DE-1F42-4FF8-8BFA-5FC928D88C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020" y="5675868"/>
            <a:ext cx="1647389" cy="1066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269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(centered)">
  <p:cSld name="content slide (centered)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36;p25">
            <a:extLst>
              <a:ext uri="{FF2B5EF4-FFF2-40B4-BE49-F238E27FC236}">
                <a16:creationId xmlns:a16="http://schemas.microsoft.com/office/drawing/2014/main" id="{30F48CB5-B83D-4BA5-9BDD-149FEF00C10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96BAC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  <a:effectLst>
            <a:outerShdw blurRad="40000" dist="23000" dir="5400000" rotWithShape="0">
              <a:srgbClr val="000000">
                <a:alpha val="34901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D57F25"/>
              </a:solidFill>
              <a:latin typeface="Rockwell"/>
              <a:ea typeface="Rockwell"/>
              <a:cs typeface="Rockwell"/>
              <a:sym typeface="Rockwell"/>
            </a:endParaRPr>
          </a:p>
        </p:txBody>
      </p:sp>
      <p:pic>
        <p:nvPicPr>
          <p:cNvPr id="7" name="Google Shape;37;p25">
            <a:extLst>
              <a:ext uri="{FF2B5EF4-FFF2-40B4-BE49-F238E27FC236}">
                <a16:creationId xmlns:a16="http://schemas.microsoft.com/office/drawing/2014/main" id="{2332A5CF-D8CD-4484-90F3-F0CC54A7F568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72715" y="5627688"/>
            <a:ext cx="3646571" cy="123031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9403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&amp;3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1246717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7" y="1304924"/>
            <a:ext cx="9793816" cy="1260000"/>
          </a:xfrm>
        </p:spPr>
        <p:txBody>
          <a:bodyPr/>
          <a:lstStyle/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e la date 7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GB">
                <a:solidFill>
                  <a:prstClr val="white">
                    <a:alpha val="0"/>
                  </a:prstClr>
                </a:solidFill>
              </a:rPr>
              <a:t>Dat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fld id="{733122C9-A0B9-462F-8757-0847AD287B63}" type="slidenum">
              <a:rPr lang="en-GB" smtClean="0">
                <a:solidFill>
                  <a:srgbClr val="343434"/>
                </a:solidFill>
              </a:rPr>
              <a:pPr/>
              <a:t>‹#›</a:t>
            </a:fld>
            <a:endParaRPr lang="en-GB">
              <a:solidFill>
                <a:srgbClr val="343434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en-GB">
                <a:solidFill>
                  <a:srgbClr val="005CB9"/>
                </a:solidFill>
              </a:rPr>
              <a:t>#add your hashtag</a:t>
            </a:r>
          </a:p>
        </p:txBody>
      </p:sp>
      <p:sp>
        <p:nvSpPr>
          <p:cNvPr id="13" name="Espace réservé du contenu 2"/>
          <p:cNvSpPr>
            <a:spLocks noGrp="1"/>
          </p:cNvSpPr>
          <p:nvPr>
            <p:ph idx="17" hasCustomPrompt="1"/>
          </p:nvPr>
        </p:nvSpPr>
        <p:spPr bwMode="gray">
          <a:xfrm>
            <a:off x="4607625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8" hasCustomPrompt="1"/>
          </p:nvPr>
        </p:nvSpPr>
        <p:spPr bwMode="gray">
          <a:xfrm>
            <a:off x="7968533" y="2781388"/>
            <a:ext cx="3072000" cy="3240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</p:spTree>
    <p:extLst>
      <p:ext uri="{BB962C8B-B14F-4D97-AF65-F5344CB8AC3E}">
        <p14:creationId xmlns:p14="http://schemas.microsoft.com/office/powerpoint/2010/main" val="19260663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4E43CC-A238-47A3-B91D-337B8322D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6FE5D80-3F53-4103-9967-095D04856A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D9919F6-A4D0-4CA9-A4CD-914457856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7246760" cy="403133"/>
          </a:xfrm>
        </p:spPr>
        <p:txBody>
          <a:bodyPr lIns="0" tIns="0" rIns="0" bIns="0"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object 14">
            <a:extLst>
              <a:ext uri="{FF2B5EF4-FFF2-40B4-BE49-F238E27FC236}">
                <a16:creationId xmlns:a16="http://schemas.microsoft.com/office/drawing/2014/main" id="{FFCCEE77-DD40-4843-B514-E7A8B70251C9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2B504-645A-42DC-ABCE-1D8DD23450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304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0F4306BB-6547-4B5E-8784-4CBAC01B610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0675" y="1996560"/>
            <a:ext cx="5335021" cy="1268809"/>
          </a:xfrm>
        </p:spPr>
        <p:txBody>
          <a:bodyPr/>
          <a:lstStyle>
            <a:lvl1pPr marL="207935" indent="-207935">
              <a:spcAft>
                <a:spcPts val="364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defRPr sz="1213"/>
            </a:lvl1pPr>
            <a:lvl2pPr>
              <a:spcAft>
                <a:spcPts val="364"/>
              </a:spcAft>
              <a:buSzPct val="110000"/>
              <a:defRPr sz="1092"/>
            </a:lvl2pPr>
            <a:lvl3pPr>
              <a:spcAft>
                <a:spcPts val="364"/>
              </a:spcAft>
              <a:buSzPct val="110000"/>
              <a:defRPr sz="970"/>
            </a:lvl3pPr>
            <a:lvl4pPr>
              <a:spcAft>
                <a:spcPts val="364"/>
              </a:spcAft>
              <a:buSzPct val="110000"/>
              <a:defRPr sz="849"/>
            </a:lvl4pPr>
            <a:lvl5pPr>
              <a:spcAft>
                <a:spcPts val="364"/>
              </a:spcAft>
              <a:buSzPct val="110000"/>
              <a:defRPr sz="849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A5CFFDE-62DF-4CF6-A0E2-E3FC6F3B813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6304" y="1529131"/>
            <a:ext cx="5335021" cy="300484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26E4A3A-D76E-4C23-88DA-34D816F1BC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0675" y="1529131"/>
            <a:ext cx="5335021" cy="296171"/>
          </a:xfrm>
        </p:spPr>
        <p:txBody>
          <a:bodyPr/>
          <a:lstStyle>
            <a:lvl1pPr>
              <a:defRPr lang="en-GB" sz="1698" b="1" i="0" kern="1200" dirty="0">
                <a:solidFill>
                  <a:schemeClr val="accent1"/>
                </a:solidFill>
                <a:latin typeface="Poppins SemiBold" pitchFamily="2" charset="77"/>
                <a:ea typeface="+mn-ea"/>
                <a:cs typeface="Poppins SemiBold" pitchFamily="2" charset="77"/>
              </a:defRPr>
            </a:lvl1pPr>
          </a:lstStyle>
          <a:p>
            <a:pPr marL="0" lvl="0" indent="0" algn="l" defTabSz="554492" rtl="0" eaLnBrk="1" latinLnBrk="0" hangingPunct="1">
              <a:lnSpc>
                <a:spcPct val="120000"/>
              </a:lnSpc>
              <a:spcBef>
                <a:spcPts val="606"/>
              </a:spcBef>
              <a:spcAft>
                <a:spcPts val="728"/>
              </a:spcAft>
              <a:buSzPct val="75000"/>
              <a:buFontTx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6014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554">
          <p15:clr>
            <a:srgbClr val="FBAE40"/>
          </p15:clr>
        </p15:guide>
        <p15:guide id="2" pos="807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DE7076-66EA-457F-BD32-8BA5A1959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77B7A-2932-4D2C-B7F7-5438708148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710691-CA30-4BCA-A388-AC4B78757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2DBD5-97D2-4008-AE7F-CE9EC5B16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7670BF-E5D4-44BA-A2AB-83855A7E5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741902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07F83-32DA-4571-A5C0-11591B186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8CEA97-B0AD-42C6-A0C1-EA00A971D3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673582-EB74-4F5E-97B6-F291468195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BAAC6E-D075-44F9-B21D-C9AD574AB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919E45-4F1A-4F42-8916-9BAE41617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3163414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671720-7226-491C-A7AB-8ECDB03138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C57E0B-422D-402C-8CBA-5C0FE01DF0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B2C3037-895B-41A8-AE2E-4C6FDB6D8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626EBF0-CD67-4BAC-B804-A606AA558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DC976E0-745A-47C0-97A7-001546FFB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CB69C0-711C-42BC-81AF-7ECA67EE81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22447001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FD6968-5C22-4CA9-915D-7998700053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7F361-B95D-4A69-A70B-5EF5D26BA7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689549D-F8D0-48AE-8103-CD2EADBCFB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5B3272-5C7D-4419-B941-07E6770AC41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1CDDEF-370E-4143-A3EA-1489BF98FE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213262-A4EB-4B67-8465-E6A6A9911B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FDFFD22-6D2D-484A-9DF8-545C7CDDD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9C0843A-A943-4ECA-A04D-40F4B4F9AF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20231613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ADF61-67EC-4AB1-BF1D-926BBB402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16B9A6-4347-42EF-A41A-10C00EDD90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4B67C6-A181-456E-94AA-537533B7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80CF1A-5E0E-4B33-A7F7-48682FFBA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2598964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6E9CA6-3C4E-46D9-B39A-EA69467398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3BFF7E-FE20-43ED-B352-566C5D712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75E25A-142E-4196-A8FD-443D7F426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6907017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69C169-56B2-4E8F-89D1-427AAA59D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1E1EA0-EB81-4E4B-B8E7-DDF882DB59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499D8C-856A-49DA-A6C2-BF2E11BF87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4C40C7D-6F04-4706-AD70-1732B9D291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1C960D-03B2-4A35-8479-24A10090D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260560-11C1-4314-B42C-B00BC5DD4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3370469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96A73-3EBF-493E-AAC3-57864CA39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74273C-F852-4C27-BF7E-4693921704A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Y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982AA3-F25D-462C-B69C-88A277F83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66BC311-CB24-4C39-925F-5A367A7E0B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ED5C5B-0BD7-44F2-8C07-C5878E699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Y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08438B-7BCF-4696-A22E-83AB79281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978124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1C0A0DA-C899-498B-8C69-6F319273F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ar-Y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7227F9-E95D-4CDA-AC46-6F5815E270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Y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A25774-AF2C-4102-A2BF-2518C897A7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8D2CE8-A88A-4D29-888D-039B3A7DD01A}" type="datetimeFigureOut">
              <a:rPr lang="ar-YE" smtClean="0"/>
              <a:t>13/11/1444</a:t>
            </a:fld>
            <a:endParaRPr lang="ar-Y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059AF0-86F6-4E3C-892B-FC9124F26C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r-Y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A985B6-E615-4E93-9CC3-E9E5286B72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BE40EC-CA04-41F9-A88C-6864BBB0CA4C}" type="slidenum">
              <a:rPr lang="ar-YE" smtClean="0"/>
              <a:t>‹#›</a:t>
            </a:fld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117425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Y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sv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svg"/><Relationship Id="rId12" Type="http://schemas.openxmlformats.org/officeDocument/2006/relationships/hyperlink" Target="https://www.onlinedoctranslator.com/ar/?utm_source=onlinedoctranslator&amp;utm_medium=pptx&amp;utm_campaign=attribution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11" Type="http://schemas.openxmlformats.org/officeDocument/2006/relationships/image" Target="../media/image15.svg"/><Relationship Id="rId5" Type="http://schemas.openxmlformats.org/officeDocument/2006/relationships/image" Target="../media/image9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chart" Target="../charts/chart2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ites.google.com/view/erg4immunisation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ites.google.com/view/erg4immunisation/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ites.google.com/view/erg4immunisation/" TargetMode="Externa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ites.google.com/view/erg4immunisation/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116;p23">
            <a:extLst>
              <a:ext uri="{FF2B5EF4-FFF2-40B4-BE49-F238E27FC236}">
                <a16:creationId xmlns:a16="http://schemas.microsoft.com/office/drawing/2014/main" id="{F70C5B87-61B1-482F-BBF6-8810480D964F}"/>
              </a:ext>
            </a:extLst>
          </p:cNvPr>
          <p:cNvSpPr txBox="1"/>
          <p:nvPr/>
        </p:nvSpPr>
        <p:spPr>
          <a:xfrm>
            <a:off x="101915" y="1014411"/>
            <a:ext cx="12090085" cy="2414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/>
          <a:p>
            <a:pPr algn="ctr" rtl="1">
              <a:defRPr/>
            </a:pPr>
            <a:r>
              <a:rPr lang="en" sz="5000" b="1" dirty="0">
                <a:solidFill>
                  <a:srgbClr val="FFFFFF"/>
                </a:solidFill>
                <a:latin typeface="Rockwell"/>
                <a:sym typeface="Rockwell"/>
              </a:rPr>
              <a:t>ما هو تعريف</a:t>
            </a:r>
          </a:p>
          <a:p>
            <a:pPr algn="ctr" rtl="1">
              <a:defRPr/>
            </a:pPr>
            <a:r>
              <a:rPr lang="en" sz="5000" b="1" dirty="0">
                <a:solidFill>
                  <a:srgbClr val="FFFFFF"/>
                </a:solidFill>
                <a:latin typeface="Rockwell"/>
                <a:sym typeface="Rockwell"/>
              </a:rPr>
              <a:t>الأطفال صفر جرعة؟</a:t>
            </a:r>
            <a:endParaRPr lang="en-US" dirty="0"/>
          </a:p>
        </p:txBody>
      </p:sp>
      <p:sp>
        <p:nvSpPr>
          <p:cNvPr id="4" name="Slide Number Placeholder 8">
            <a:extLst>
              <a:ext uri="{FF2B5EF4-FFF2-40B4-BE49-F238E27FC236}">
                <a16:creationId xmlns:a16="http://schemas.microsoft.com/office/drawing/2014/main" id="{A51A36AD-F742-4150-AB45-E9351E5BBAD2}"/>
              </a:ext>
            </a:extLst>
          </p:cNvPr>
          <p:cNvSpPr txBox="1">
            <a:spLocks/>
          </p:cNvSpPr>
          <p:nvPr/>
        </p:nvSpPr>
        <p:spPr>
          <a:xfrm>
            <a:off x="11293475" y="6483350"/>
            <a:ext cx="898525" cy="111125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defTabSz="554492" rtl="1">
              <a:buClrTx/>
              <a:defRPr/>
            </a:pPr>
            <a:fld id="{E2E31AFC-DF42-41A5-B57C-06A83BBA6616}" type="slidenum">
              <a:rPr lang="en-GB" sz="728" kern="1200" smtClean="0">
                <a:solidFill>
                  <a:srgbClr val="FFFFFF"/>
                </a:solidFill>
                <a:latin typeface="Poppins" pitchFamily="2" charset="77"/>
                <a:ea typeface="+mn-ea"/>
                <a:cs typeface="Poppins" pitchFamily="2" charset="77"/>
              </a:rPr>
              <a:pPr algn="r" defTabSz="554492" rtl="1">
                <a:buClrTx/>
                <a:defRPr/>
              </a:pPr>
              <a:t>1</a:t>
            </a:fld>
            <a:endParaRPr lang="en-GB" sz="728" kern="1200">
              <a:solidFill>
                <a:srgbClr val="FFFFFF"/>
              </a:solidFill>
              <a:latin typeface="Poppins" pitchFamily="2" charset="77"/>
              <a:ea typeface="+mn-ea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153235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8D9089B-DAE8-492C-8FFA-6B5A514B0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8145187-860E-4687-B46F-319D39DE7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50" name="مجموعة 49">
            <a:extLst>
              <a:ext uri="{FF2B5EF4-FFF2-40B4-BE49-F238E27FC236}">
                <a16:creationId xmlns:a16="http://schemas.microsoft.com/office/drawing/2014/main" id="{6D92830A-8BD5-4592-80EE-596AFE168B20}"/>
              </a:ext>
            </a:extLst>
          </p:cNvPr>
          <p:cNvGrpSpPr/>
          <p:nvPr/>
        </p:nvGrpSpPr>
        <p:grpSpPr>
          <a:xfrm>
            <a:off x="698090" y="308670"/>
            <a:ext cx="11110279" cy="744831"/>
            <a:chOff x="630783" y="332141"/>
            <a:chExt cx="11110279" cy="744831"/>
          </a:xfrm>
        </p:grpSpPr>
        <p:pic>
          <p:nvPicPr>
            <p:cNvPr id="51" name="صورة 50">
              <a:extLst>
                <a:ext uri="{FF2B5EF4-FFF2-40B4-BE49-F238E27FC236}">
                  <a16:creationId xmlns:a16="http://schemas.microsoft.com/office/drawing/2014/main" id="{AF277C3E-34D2-43B1-8B84-ACEDB51424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3814" y="332141"/>
              <a:ext cx="1065124" cy="576497"/>
            </a:xfrm>
            <a:prstGeom prst="rect">
              <a:avLst/>
            </a:prstGeom>
            <a:noFill/>
          </p:spPr>
        </p:pic>
        <p:pic>
          <p:nvPicPr>
            <p:cNvPr id="52" name="صورة 51">
              <a:extLst>
                <a:ext uri="{FF2B5EF4-FFF2-40B4-BE49-F238E27FC236}">
                  <a16:creationId xmlns:a16="http://schemas.microsoft.com/office/drawing/2014/main" id="{7F59CF87-1D8B-4E65-90C8-D92261827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83" y="333394"/>
              <a:ext cx="743578" cy="74357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" name="مربع نص 13">
              <a:extLst>
                <a:ext uri="{FF2B5EF4-FFF2-40B4-BE49-F238E27FC236}">
                  <a16:creationId xmlns:a16="http://schemas.microsoft.com/office/drawing/2014/main" id="{2BDF2545-62F5-474D-9696-AEDBB3106078}"/>
                </a:ext>
              </a:extLst>
            </p:cNvPr>
            <p:cNvSpPr txBox="1"/>
            <p:nvPr/>
          </p:nvSpPr>
          <p:spPr>
            <a:xfrm>
              <a:off x="3363037" y="377750"/>
              <a:ext cx="5794339" cy="428931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algn="ctr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b="1" dirty="0">
                  <a:solidFill>
                    <a:srgbClr val="405EAB"/>
                  </a:solidFill>
                </a:rPr>
                <a:t>STATUS OF EPI CENTERS, 2018-2021</a:t>
              </a:r>
            </a:p>
          </p:txBody>
        </p:sp>
        <p:grpSp>
          <p:nvGrpSpPr>
            <p:cNvPr id="54" name="مجموعة 53">
              <a:extLst>
                <a:ext uri="{FF2B5EF4-FFF2-40B4-BE49-F238E27FC236}">
                  <a16:creationId xmlns:a16="http://schemas.microsoft.com/office/drawing/2014/main" id="{0C6AC0CA-8F37-4EE1-AF73-84FC329DFE9D}"/>
                </a:ext>
              </a:extLst>
            </p:cNvPr>
            <p:cNvGrpSpPr/>
            <p:nvPr/>
          </p:nvGrpSpPr>
          <p:grpSpPr>
            <a:xfrm>
              <a:off x="1166847" y="908638"/>
              <a:ext cx="10574215" cy="125071"/>
              <a:chOff x="1356526" y="6243709"/>
              <a:chExt cx="10835474" cy="453575"/>
            </a:xfrm>
          </p:grpSpPr>
          <p:sp>
            <p:nvSpPr>
              <p:cNvPr id="55" name="مستطيل 54">
                <a:extLst>
                  <a:ext uri="{FF2B5EF4-FFF2-40B4-BE49-F238E27FC236}">
                    <a16:creationId xmlns:a16="http://schemas.microsoft.com/office/drawing/2014/main" id="{891F1CD2-9EC4-4273-A1C9-BA30FF7852A3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مستطيل 55">
                <a:extLst>
                  <a:ext uri="{FF2B5EF4-FFF2-40B4-BE49-F238E27FC236}">
                    <a16:creationId xmlns:a16="http://schemas.microsoft.com/office/drawing/2014/main" id="{44F49143-8C7F-4BDF-9E48-E678C31D3D60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4" name="مجموعة 43">
            <a:extLst>
              <a:ext uri="{FF2B5EF4-FFF2-40B4-BE49-F238E27FC236}">
                <a16:creationId xmlns:a16="http://schemas.microsoft.com/office/drawing/2014/main" id="{A8D9DCF7-DCC1-4F66-B2A7-9A9CF9783DBC}"/>
              </a:ext>
            </a:extLst>
          </p:cNvPr>
          <p:cNvGrpSpPr/>
          <p:nvPr/>
        </p:nvGrpSpPr>
        <p:grpSpPr>
          <a:xfrm>
            <a:off x="560931" y="6257547"/>
            <a:ext cx="11631069" cy="453575"/>
            <a:chOff x="560931" y="6243709"/>
            <a:chExt cx="11631069" cy="453575"/>
          </a:xfrm>
          <a:solidFill>
            <a:srgbClr val="00B0F0"/>
          </a:solidFill>
        </p:grpSpPr>
        <p:grpSp>
          <p:nvGrpSpPr>
            <p:cNvPr id="46" name="مجموعة 45">
              <a:extLst>
                <a:ext uri="{FF2B5EF4-FFF2-40B4-BE49-F238E27FC236}">
                  <a16:creationId xmlns:a16="http://schemas.microsoft.com/office/drawing/2014/main" id="{4123BF70-F97C-4471-8D4E-D635E599BD4B}"/>
                </a:ext>
              </a:extLst>
            </p:cNvPr>
            <p:cNvGrpSpPr/>
            <p:nvPr/>
          </p:nvGrpSpPr>
          <p:grpSpPr>
            <a:xfrm>
              <a:off x="1617785" y="6243709"/>
              <a:ext cx="10574215" cy="453575"/>
              <a:chOff x="1356526" y="6243709"/>
              <a:chExt cx="10835474" cy="453575"/>
            </a:xfrm>
            <a:grpFill/>
          </p:grpSpPr>
          <p:sp>
            <p:nvSpPr>
              <p:cNvPr id="79" name="مستطيل 78">
                <a:extLst>
                  <a:ext uri="{FF2B5EF4-FFF2-40B4-BE49-F238E27FC236}">
                    <a16:creationId xmlns:a16="http://schemas.microsoft.com/office/drawing/2014/main" id="{CB2C645B-C773-4CDF-A787-5EC6D75FC026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مستطيل 79">
                <a:extLst>
                  <a:ext uri="{FF2B5EF4-FFF2-40B4-BE49-F238E27FC236}">
                    <a16:creationId xmlns:a16="http://schemas.microsoft.com/office/drawing/2014/main" id="{7B1D6628-B855-48D9-99A8-E36A7DA49874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49" name="مجموعة 48">
              <a:extLst>
                <a:ext uri="{FF2B5EF4-FFF2-40B4-BE49-F238E27FC236}">
                  <a16:creationId xmlns:a16="http://schemas.microsoft.com/office/drawing/2014/main" id="{199CD2D5-5CEC-4F44-9207-2ACDEEC407FA}"/>
                </a:ext>
              </a:extLst>
            </p:cNvPr>
            <p:cNvGrpSpPr/>
            <p:nvPr/>
          </p:nvGrpSpPr>
          <p:grpSpPr>
            <a:xfrm>
              <a:off x="560931" y="6243709"/>
              <a:ext cx="1018932" cy="453575"/>
              <a:chOff x="560931" y="6243709"/>
              <a:chExt cx="1018932" cy="453575"/>
            </a:xfrm>
            <a:grpFill/>
          </p:grpSpPr>
          <p:grpSp>
            <p:nvGrpSpPr>
              <p:cNvPr id="58" name="مجموعة 57">
                <a:extLst>
                  <a:ext uri="{FF2B5EF4-FFF2-40B4-BE49-F238E27FC236}">
                    <a16:creationId xmlns:a16="http://schemas.microsoft.com/office/drawing/2014/main" id="{F9BF6099-5C48-42B0-8533-CE79853063BA}"/>
                  </a:ext>
                </a:extLst>
              </p:cNvPr>
              <p:cNvGrpSpPr/>
              <p:nvPr/>
            </p:nvGrpSpPr>
            <p:grpSpPr>
              <a:xfrm>
                <a:off x="1375546" y="6243709"/>
                <a:ext cx="204317" cy="453575"/>
                <a:chOff x="1356526" y="6243709"/>
                <a:chExt cx="10835474" cy="453575"/>
              </a:xfrm>
              <a:grpFill/>
            </p:grpSpPr>
            <p:sp>
              <p:nvSpPr>
                <p:cNvPr id="77" name="مستطيل 76">
                  <a:extLst>
                    <a:ext uri="{FF2B5EF4-FFF2-40B4-BE49-F238E27FC236}">
                      <a16:creationId xmlns:a16="http://schemas.microsoft.com/office/drawing/2014/main" id="{B4751F11-12D0-4956-AB2A-6E9C3110D096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مستطيل 77">
                  <a:extLst>
                    <a:ext uri="{FF2B5EF4-FFF2-40B4-BE49-F238E27FC236}">
                      <a16:creationId xmlns:a16="http://schemas.microsoft.com/office/drawing/2014/main" id="{A8AA3A8A-C7D2-49FF-AB0B-B136A4FCEEDD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9" name="مجموعة 58">
                <a:extLst>
                  <a:ext uri="{FF2B5EF4-FFF2-40B4-BE49-F238E27FC236}">
                    <a16:creationId xmlns:a16="http://schemas.microsoft.com/office/drawing/2014/main" id="{938346D0-2119-4E21-B559-3367B63E9582}"/>
                  </a:ext>
                </a:extLst>
              </p:cNvPr>
              <p:cNvGrpSpPr/>
              <p:nvPr/>
            </p:nvGrpSpPr>
            <p:grpSpPr>
              <a:xfrm>
                <a:off x="1166849" y="6243709"/>
                <a:ext cx="163155" cy="453575"/>
                <a:chOff x="1356526" y="6243709"/>
                <a:chExt cx="10835474" cy="453575"/>
              </a:xfrm>
              <a:grpFill/>
            </p:grpSpPr>
            <p:sp>
              <p:nvSpPr>
                <p:cNvPr id="75" name="مستطيل 74">
                  <a:extLst>
                    <a:ext uri="{FF2B5EF4-FFF2-40B4-BE49-F238E27FC236}">
                      <a16:creationId xmlns:a16="http://schemas.microsoft.com/office/drawing/2014/main" id="{FF8F7658-9645-4A39-A31D-99C40FF7CF38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مستطيل 75">
                  <a:extLst>
                    <a:ext uri="{FF2B5EF4-FFF2-40B4-BE49-F238E27FC236}">
                      <a16:creationId xmlns:a16="http://schemas.microsoft.com/office/drawing/2014/main" id="{88A69464-18B9-4E56-8441-D0388E742F24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0" name="مجموعة 59">
                <a:extLst>
                  <a:ext uri="{FF2B5EF4-FFF2-40B4-BE49-F238E27FC236}">
                    <a16:creationId xmlns:a16="http://schemas.microsoft.com/office/drawing/2014/main" id="{1392A15A-BA85-40AF-94F3-94A71AAA88CC}"/>
                  </a:ext>
                </a:extLst>
              </p:cNvPr>
              <p:cNvGrpSpPr/>
              <p:nvPr/>
            </p:nvGrpSpPr>
            <p:grpSpPr>
              <a:xfrm>
                <a:off x="986790" y="6243709"/>
                <a:ext cx="134518" cy="453575"/>
                <a:chOff x="1356526" y="6243709"/>
                <a:chExt cx="10835474" cy="453575"/>
              </a:xfrm>
              <a:grpFill/>
            </p:grpSpPr>
            <p:sp>
              <p:nvSpPr>
                <p:cNvPr id="73" name="مستطيل 72">
                  <a:extLst>
                    <a:ext uri="{FF2B5EF4-FFF2-40B4-BE49-F238E27FC236}">
                      <a16:creationId xmlns:a16="http://schemas.microsoft.com/office/drawing/2014/main" id="{F227227D-90F2-48F6-89F2-7BABCDBCAA0C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مستطيل 73">
                  <a:extLst>
                    <a:ext uri="{FF2B5EF4-FFF2-40B4-BE49-F238E27FC236}">
                      <a16:creationId xmlns:a16="http://schemas.microsoft.com/office/drawing/2014/main" id="{177946A0-FF99-447F-B0BB-2436A6A32224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1" name="مجموعة 60">
                <a:extLst>
                  <a:ext uri="{FF2B5EF4-FFF2-40B4-BE49-F238E27FC236}">
                    <a16:creationId xmlns:a16="http://schemas.microsoft.com/office/drawing/2014/main" id="{3845EC16-0E7B-4022-958E-0AC019ED9571}"/>
                  </a:ext>
                </a:extLst>
              </p:cNvPr>
              <p:cNvGrpSpPr/>
              <p:nvPr/>
            </p:nvGrpSpPr>
            <p:grpSpPr>
              <a:xfrm>
                <a:off x="739140" y="6243709"/>
                <a:ext cx="61049" cy="453575"/>
                <a:chOff x="1356526" y="6243709"/>
                <a:chExt cx="10835474" cy="453575"/>
              </a:xfrm>
              <a:grpFill/>
            </p:grpSpPr>
            <p:sp>
              <p:nvSpPr>
                <p:cNvPr id="71" name="مستطيل 70">
                  <a:extLst>
                    <a:ext uri="{FF2B5EF4-FFF2-40B4-BE49-F238E27FC236}">
                      <a16:creationId xmlns:a16="http://schemas.microsoft.com/office/drawing/2014/main" id="{E583D673-2901-4B83-8FE1-9B6BCC117FD1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2" name="مستطيل 71">
                  <a:extLst>
                    <a:ext uri="{FF2B5EF4-FFF2-40B4-BE49-F238E27FC236}">
                      <a16:creationId xmlns:a16="http://schemas.microsoft.com/office/drawing/2014/main" id="{6EC9FCAD-F42C-448D-BC98-ED3C3B5F8D60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2" name="مجموعة 61">
                <a:extLst>
                  <a:ext uri="{FF2B5EF4-FFF2-40B4-BE49-F238E27FC236}">
                    <a16:creationId xmlns:a16="http://schemas.microsoft.com/office/drawing/2014/main" id="{DDCCAD1C-E8A7-44EC-B0A9-A918D2C8C4BD}"/>
                  </a:ext>
                </a:extLst>
              </p:cNvPr>
              <p:cNvGrpSpPr/>
              <p:nvPr/>
            </p:nvGrpSpPr>
            <p:grpSpPr>
              <a:xfrm>
                <a:off x="838199" y="6243709"/>
                <a:ext cx="103049" cy="453575"/>
                <a:chOff x="1356526" y="6243709"/>
                <a:chExt cx="10835474" cy="453575"/>
              </a:xfrm>
              <a:grpFill/>
            </p:grpSpPr>
            <p:sp>
              <p:nvSpPr>
                <p:cNvPr id="69" name="مستطيل 68">
                  <a:extLst>
                    <a:ext uri="{FF2B5EF4-FFF2-40B4-BE49-F238E27FC236}">
                      <a16:creationId xmlns:a16="http://schemas.microsoft.com/office/drawing/2014/main" id="{6754D1EE-E375-4DB8-BF46-2BCF26AEABFA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70" name="مستطيل 69">
                  <a:extLst>
                    <a:ext uri="{FF2B5EF4-FFF2-40B4-BE49-F238E27FC236}">
                      <a16:creationId xmlns:a16="http://schemas.microsoft.com/office/drawing/2014/main" id="{EF0317BD-2F1E-4E3E-B744-61201D8A90E9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3" name="مجموعة 62">
                <a:extLst>
                  <a:ext uri="{FF2B5EF4-FFF2-40B4-BE49-F238E27FC236}">
                    <a16:creationId xmlns:a16="http://schemas.microsoft.com/office/drawing/2014/main" id="{E71B030E-067B-43D2-BD70-592298139A66}"/>
                  </a:ext>
                </a:extLst>
              </p:cNvPr>
              <p:cNvGrpSpPr/>
              <p:nvPr/>
            </p:nvGrpSpPr>
            <p:grpSpPr>
              <a:xfrm>
                <a:off x="65237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7" name="مستطيل 66">
                  <a:extLst>
                    <a:ext uri="{FF2B5EF4-FFF2-40B4-BE49-F238E27FC236}">
                      <a16:creationId xmlns:a16="http://schemas.microsoft.com/office/drawing/2014/main" id="{D9897D88-9069-4EB8-A2A6-ED3563C39847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مستطيل 67">
                  <a:extLst>
                    <a:ext uri="{FF2B5EF4-FFF2-40B4-BE49-F238E27FC236}">
                      <a16:creationId xmlns:a16="http://schemas.microsoft.com/office/drawing/2014/main" id="{80D54DA0-0120-4D94-9B23-FB57D2A91B51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64" name="مجموعة 63">
                <a:extLst>
                  <a:ext uri="{FF2B5EF4-FFF2-40B4-BE49-F238E27FC236}">
                    <a16:creationId xmlns:a16="http://schemas.microsoft.com/office/drawing/2014/main" id="{75FD02B9-F83B-4E15-9621-DC2EA52BCB6E}"/>
                  </a:ext>
                </a:extLst>
              </p:cNvPr>
              <p:cNvGrpSpPr/>
              <p:nvPr/>
            </p:nvGrpSpPr>
            <p:grpSpPr>
              <a:xfrm>
                <a:off x="56093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5" name="مستطيل 64">
                  <a:extLst>
                    <a:ext uri="{FF2B5EF4-FFF2-40B4-BE49-F238E27FC236}">
                      <a16:creationId xmlns:a16="http://schemas.microsoft.com/office/drawing/2014/main" id="{6A8A093F-AFC2-4E8E-875F-66C2FD9A680D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مستطيل 65">
                  <a:extLst>
                    <a:ext uri="{FF2B5EF4-FFF2-40B4-BE49-F238E27FC236}">
                      <a16:creationId xmlns:a16="http://schemas.microsoft.com/office/drawing/2014/main" id="{8E50B7D8-B5B1-4866-B88B-4E846130547F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57" name="شكل بيضاوي 56">
              <a:extLst>
                <a:ext uri="{FF2B5EF4-FFF2-40B4-BE49-F238E27FC236}">
                  <a16:creationId xmlns:a16="http://schemas.microsoft.com/office/drawing/2014/main" id="{EBCB11A8-7259-4D12-82BB-1E84E43EEFF4}"/>
                </a:ext>
              </a:extLst>
            </p:cNvPr>
            <p:cNvSpPr/>
            <p:nvPr/>
          </p:nvSpPr>
          <p:spPr>
            <a:xfrm>
              <a:off x="11062735" y="6283282"/>
              <a:ext cx="506201" cy="33019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مربع نص 80">
            <a:extLst>
              <a:ext uri="{FF2B5EF4-FFF2-40B4-BE49-F238E27FC236}">
                <a16:creationId xmlns:a16="http://schemas.microsoft.com/office/drawing/2014/main" id="{9CE8CADE-D26F-4730-B744-29CE1D5D8319}"/>
              </a:ext>
            </a:extLst>
          </p:cNvPr>
          <p:cNvSpPr txBox="1"/>
          <p:nvPr/>
        </p:nvSpPr>
        <p:spPr>
          <a:xfrm>
            <a:off x="11093549" y="6253435"/>
            <a:ext cx="4604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0749B"/>
                </a:solidFill>
                <a:effectLst/>
                <a:uLnTx/>
                <a:uFillTx/>
                <a:latin typeface="Calibri" panose="020F0502020204030204"/>
                <a:ea typeface="+mn-ea"/>
                <a:cs typeface="AL-Mateen" pitchFamily="2" charset="-78"/>
              </a:rPr>
              <a:t>17</a:t>
            </a:r>
          </a:p>
        </p:txBody>
      </p:sp>
      <p:graphicFrame>
        <p:nvGraphicFramePr>
          <p:cNvPr id="40" name="Chart 38">
            <a:extLst>
              <a:ext uri="{FF2B5EF4-FFF2-40B4-BE49-F238E27FC236}">
                <a16:creationId xmlns:a16="http://schemas.microsoft.com/office/drawing/2014/main" id="{0AD63345-4949-47CD-845B-374EECD23295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194196" y="1669801"/>
          <a:ext cx="8614172" cy="3673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مربع نص 2">
            <a:extLst>
              <a:ext uri="{FF2B5EF4-FFF2-40B4-BE49-F238E27FC236}">
                <a16:creationId xmlns:a16="http://schemas.microsoft.com/office/drawing/2014/main" id="{4D99016D-B88F-4E31-AA3F-FD1E4D31EE1F}"/>
              </a:ext>
            </a:extLst>
          </p:cNvPr>
          <p:cNvSpPr txBox="1"/>
          <p:nvPr/>
        </p:nvSpPr>
        <p:spPr>
          <a:xfrm>
            <a:off x="306763" y="2576737"/>
            <a:ext cx="2622043" cy="1384995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3D5FAC"/>
                </a:solidFill>
              </a:rPr>
              <a:t>Increasing of HF EPI providing Services </a:t>
            </a:r>
          </a:p>
        </p:txBody>
      </p:sp>
    </p:spTree>
    <p:extLst>
      <p:ext uri="{BB962C8B-B14F-4D97-AF65-F5344CB8AC3E}">
        <p14:creationId xmlns:p14="http://schemas.microsoft.com/office/powerpoint/2010/main" val="1010276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513ADF7A-6667-F69E-7C84-901F8F369FE3}"/>
              </a:ext>
            </a:extLst>
          </p:cNvPr>
          <p:cNvGraphicFramePr/>
          <p:nvPr>
            <p:extLst/>
          </p:nvPr>
        </p:nvGraphicFramePr>
        <p:xfrm>
          <a:off x="548640" y="650240"/>
          <a:ext cx="4450080" cy="4947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B81F6DD4-7B6D-F3EC-960B-1252AC553886}"/>
              </a:ext>
            </a:extLst>
          </p:cNvPr>
          <p:cNvGrpSpPr/>
          <p:nvPr/>
        </p:nvGrpSpPr>
        <p:grpSpPr>
          <a:xfrm>
            <a:off x="5699760" y="1212215"/>
            <a:ext cx="6107747" cy="4314825"/>
            <a:chOff x="0" y="0"/>
            <a:chExt cx="3564890" cy="2511425"/>
          </a:xfrm>
        </p:grpSpPr>
        <p:pic>
          <p:nvPicPr>
            <p:cNvPr id="4" name="Picture 3" descr="Map&#10;&#10;Description automatically generated">
              <a:extLst>
                <a:ext uri="{FF2B5EF4-FFF2-40B4-BE49-F238E27FC236}">
                  <a16:creationId xmlns:a16="http://schemas.microsoft.com/office/drawing/2014/main" id="{5AA33862-0A66-A47D-B414-646BDC1D3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3564890" cy="2511425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D5C04B3-6623-3FDA-0F21-6B25E39765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54832" y="1880171"/>
              <a:ext cx="499110" cy="3492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1178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مجموعة 45">
            <a:extLst>
              <a:ext uri="{FF2B5EF4-FFF2-40B4-BE49-F238E27FC236}">
                <a16:creationId xmlns:a16="http://schemas.microsoft.com/office/drawing/2014/main" id="{4FD611E2-C8B7-4711-8220-9807D2846A7E}"/>
              </a:ext>
            </a:extLst>
          </p:cNvPr>
          <p:cNvGrpSpPr/>
          <p:nvPr/>
        </p:nvGrpSpPr>
        <p:grpSpPr>
          <a:xfrm>
            <a:off x="384558" y="517893"/>
            <a:ext cx="11110279" cy="744831"/>
            <a:chOff x="630783" y="332141"/>
            <a:chExt cx="11110279" cy="744831"/>
          </a:xfrm>
        </p:grpSpPr>
        <p:pic>
          <p:nvPicPr>
            <p:cNvPr id="4" name="صورة 3">
              <a:extLst>
                <a:ext uri="{FF2B5EF4-FFF2-40B4-BE49-F238E27FC236}">
                  <a16:creationId xmlns:a16="http://schemas.microsoft.com/office/drawing/2014/main" id="{391619B1-E82F-4A42-8829-C89C1DF2911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3814" y="332141"/>
              <a:ext cx="1065124" cy="576497"/>
            </a:xfrm>
            <a:prstGeom prst="rect">
              <a:avLst/>
            </a:prstGeom>
            <a:noFill/>
          </p:spPr>
        </p:pic>
        <p:pic>
          <p:nvPicPr>
            <p:cNvPr id="5" name="صورة 4">
              <a:extLst>
                <a:ext uri="{FF2B5EF4-FFF2-40B4-BE49-F238E27FC236}">
                  <a16:creationId xmlns:a16="http://schemas.microsoft.com/office/drawing/2014/main" id="{60EF7805-633E-49E9-998F-8639A3A5E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83" y="333394"/>
              <a:ext cx="743578" cy="743578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" name="مجموعة 41">
              <a:extLst>
                <a:ext uri="{FF2B5EF4-FFF2-40B4-BE49-F238E27FC236}">
                  <a16:creationId xmlns:a16="http://schemas.microsoft.com/office/drawing/2014/main" id="{A5CD8111-0413-4938-A72E-415BB94F3326}"/>
                </a:ext>
              </a:extLst>
            </p:cNvPr>
            <p:cNvGrpSpPr/>
            <p:nvPr/>
          </p:nvGrpSpPr>
          <p:grpSpPr>
            <a:xfrm>
              <a:off x="1166847" y="908638"/>
              <a:ext cx="10574215" cy="125071"/>
              <a:chOff x="1356526" y="6243709"/>
              <a:chExt cx="10835474" cy="453575"/>
            </a:xfrm>
          </p:grpSpPr>
          <p:sp>
            <p:nvSpPr>
              <p:cNvPr id="43" name="مستطيل 42">
                <a:extLst>
                  <a:ext uri="{FF2B5EF4-FFF2-40B4-BE49-F238E27FC236}">
                    <a16:creationId xmlns:a16="http://schemas.microsoft.com/office/drawing/2014/main" id="{4B244BC1-A007-47DF-9381-DE2DCCDE1992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مستطيل 43">
                <a:extLst>
                  <a:ext uri="{FF2B5EF4-FFF2-40B4-BE49-F238E27FC236}">
                    <a16:creationId xmlns:a16="http://schemas.microsoft.com/office/drawing/2014/main" id="{CFF24E65-9653-452F-9768-B605B54B4A5C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7" name="Rectangle 1">
            <a:extLst>
              <a:ext uri="{FF2B5EF4-FFF2-40B4-BE49-F238E27FC236}">
                <a16:creationId xmlns:a16="http://schemas.microsoft.com/office/drawing/2014/main" id="{408AC483-7E5A-455B-97BF-33B56EB93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0" name="مربع نص 13">
            <a:extLst>
              <a:ext uri="{FF2B5EF4-FFF2-40B4-BE49-F238E27FC236}">
                <a16:creationId xmlns:a16="http://schemas.microsoft.com/office/drawing/2014/main" id="{0CA08052-C585-40AB-9586-21E196E896D6}"/>
              </a:ext>
            </a:extLst>
          </p:cNvPr>
          <p:cNvSpPr txBox="1"/>
          <p:nvPr/>
        </p:nvSpPr>
        <p:spPr>
          <a:xfrm>
            <a:off x="1761645" y="603081"/>
            <a:ext cx="8495944" cy="44407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405EAB"/>
                </a:solidFill>
              </a:rPr>
              <a:t>Comparison of Coverage Results of Penta3 2018-2021</a:t>
            </a:r>
            <a:endParaRPr lang="en-US" altLang="en-US" sz="2800" b="1" dirty="0">
              <a:solidFill>
                <a:srgbClr val="405EAB"/>
              </a:solidFill>
            </a:endParaRPr>
          </a:p>
        </p:txBody>
      </p:sp>
      <p:grpSp>
        <p:nvGrpSpPr>
          <p:cNvPr id="48" name="مجموعة 47">
            <a:extLst>
              <a:ext uri="{FF2B5EF4-FFF2-40B4-BE49-F238E27FC236}">
                <a16:creationId xmlns:a16="http://schemas.microsoft.com/office/drawing/2014/main" id="{46ED087C-8AFC-426E-9360-35A3E37F5ED5}"/>
              </a:ext>
            </a:extLst>
          </p:cNvPr>
          <p:cNvGrpSpPr/>
          <p:nvPr/>
        </p:nvGrpSpPr>
        <p:grpSpPr>
          <a:xfrm>
            <a:off x="560931" y="6317932"/>
            <a:ext cx="11631069" cy="453575"/>
            <a:chOff x="560931" y="6243709"/>
            <a:chExt cx="11631069" cy="453575"/>
          </a:xfrm>
          <a:solidFill>
            <a:srgbClr val="00B0F0"/>
          </a:solidFill>
        </p:grpSpPr>
        <p:grpSp>
          <p:nvGrpSpPr>
            <p:cNvPr id="51" name="مجموعة 50">
              <a:extLst>
                <a:ext uri="{FF2B5EF4-FFF2-40B4-BE49-F238E27FC236}">
                  <a16:creationId xmlns:a16="http://schemas.microsoft.com/office/drawing/2014/main" id="{839D9813-3002-4D58-9F1D-672A5F7845E5}"/>
                </a:ext>
              </a:extLst>
            </p:cNvPr>
            <p:cNvGrpSpPr/>
            <p:nvPr/>
          </p:nvGrpSpPr>
          <p:grpSpPr>
            <a:xfrm>
              <a:off x="1617785" y="6243709"/>
              <a:ext cx="10574215" cy="453575"/>
              <a:chOff x="1356526" y="6243709"/>
              <a:chExt cx="10835474" cy="453575"/>
            </a:xfrm>
            <a:grpFill/>
          </p:grpSpPr>
          <p:sp>
            <p:nvSpPr>
              <p:cNvPr id="75" name="مستطيل 74">
                <a:extLst>
                  <a:ext uri="{FF2B5EF4-FFF2-40B4-BE49-F238E27FC236}">
                    <a16:creationId xmlns:a16="http://schemas.microsoft.com/office/drawing/2014/main" id="{603ED858-6559-4122-9899-D690DAADE632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مستطيل 75">
                <a:extLst>
                  <a:ext uri="{FF2B5EF4-FFF2-40B4-BE49-F238E27FC236}">
                    <a16:creationId xmlns:a16="http://schemas.microsoft.com/office/drawing/2014/main" id="{BE560EC3-CD24-44E3-94DD-5018EF969848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2" name="مجموعة 51">
              <a:extLst>
                <a:ext uri="{FF2B5EF4-FFF2-40B4-BE49-F238E27FC236}">
                  <a16:creationId xmlns:a16="http://schemas.microsoft.com/office/drawing/2014/main" id="{50ED75CB-85C9-4688-9A6E-70E1AC1731D9}"/>
                </a:ext>
              </a:extLst>
            </p:cNvPr>
            <p:cNvGrpSpPr/>
            <p:nvPr/>
          </p:nvGrpSpPr>
          <p:grpSpPr>
            <a:xfrm>
              <a:off x="560931" y="6243709"/>
              <a:ext cx="1018932" cy="453575"/>
              <a:chOff x="560931" y="6243709"/>
              <a:chExt cx="1018932" cy="453575"/>
            </a:xfrm>
            <a:grpFill/>
          </p:grpSpPr>
          <p:grpSp>
            <p:nvGrpSpPr>
              <p:cNvPr id="54" name="مجموعة 53">
                <a:extLst>
                  <a:ext uri="{FF2B5EF4-FFF2-40B4-BE49-F238E27FC236}">
                    <a16:creationId xmlns:a16="http://schemas.microsoft.com/office/drawing/2014/main" id="{9502FACE-77F0-49BB-BF04-579C245C2E70}"/>
                  </a:ext>
                </a:extLst>
              </p:cNvPr>
              <p:cNvGrpSpPr/>
              <p:nvPr/>
            </p:nvGrpSpPr>
            <p:grpSpPr>
              <a:xfrm>
                <a:off x="1375546" y="6243709"/>
                <a:ext cx="204317" cy="453575"/>
                <a:chOff x="1356526" y="6243709"/>
                <a:chExt cx="10835474" cy="453575"/>
              </a:xfrm>
              <a:grpFill/>
            </p:grpSpPr>
            <p:sp>
              <p:nvSpPr>
                <p:cNvPr id="73" name="مستطيل 72">
                  <a:extLst>
                    <a:ext uri="{FF2B5EF4-FFF2-40B4-BE49-F238E27FC236}">
                      <a16:creationId xmlns:a16="http://schemas.microsoft.com/office/drawing/2014/main" id="{08C559F3-A32B-41A8-B2EE-3689358F07A8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مستطيل 73">
                  <a:extLst>
                    <a:ext uri="{FF2B5EF4-FFF2-40B4-BE49-F238E27FC236}">
                      <a16:creationId xmlns:a16="http://schemas.microsoft.com/office/drawing/2014/main" id="{6BFB69E9-E1AB-446A-9932-A9530F3D94BB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5" name="مجموعة 54">
                <a:extLst>
                  <a:ext uri="{FF2B5EF4-FFF2-40B4-BE49-F238E27FC236}">
                    <a16:creationId xmlns:a16="http://schemas.microsoft.com/office/drawing/2014/main" id="{BC52BD7C-058E-42B7-AC1A-51BE7D3D0707}"/>
                  </a:ext>
                </a:extLst>
              </p:cNvPr>
              <p:cNvGrpSpPr/>
              <p:nvPr/>
            </p:nvGrpSpPr>
            <p:grpSpPr>
              <a:xfrm>
                <a:off x="1166849" y="6243709"/>
                <a:ext cx="163155" cy="453575"/>
                <a:chOff x="1356526" y="6243709"/>
                <a:chExt cx="10835474" cy="453575"/>
              </a:xfrm>
              <a:grpFill/>
            </p:grpSpPr>
            <p:sp>
              <p:nvSpPr>
                <p:cNvPr id="71" name="مستطيل 70">
                  <a:extLst>
                    <a:ext uri="{FF2B5EF4-FFF2-40B4-BE49-F238E27FC236}">
                      <a16:creationId xmlns:a16="http://schemas.microsoft.com/office/drawing/2014/main" id="{D813C67D-D9B1-4052-AD9F-8781A6F1836B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مستطيل 71">
                  <a:extLst>
                    <a:ext uri="{FF2B5EF4-FFF2-40B4-BE49-F238E27FC236}">
                      <a16:creationId xmlns:a16="http://schemas.microsoft.com/office/drawing/2014/main" id="{64BD8220-6DA5-4193-A10E-96D3FC1A932A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6" name="مجموعة 55">
                <a:extLst>
                  <a:ext uri="{FF2B5EF4-FFF2-40B4-BE49-F238E27FC236}">
                    <a16:creationId xmlns:a16="http://schemas.microsoft.com/office/drawing/2014/main" id="{96BDFAA4-6BA9-4974-94A0-5E2E94350699}"/>
                  </a:ext>
                </a:extLst>
              </p:cNvPr>
              <p:cNvGrpSpPr/>
              <p:nvPr/>
            </p:nvGrpSpPr>
            <p:grpSpPr>
              <a:xfrm>
                <a:off x="986790" y="6243709"/>
                <a:ext cx="134518" cy="453575"/>
                <a:chOff x="1356526" y="6243709"/>
                <a:chExt cx="10835474" cy="453575"/>
              </a:xfrm>
              <a:grpFill/>
            </p:grpSpPr>
            <p:sp>
              <p:nvSpPr>
                <p:cNvPr id="69" name="مستطيل 68">
                  <a:extLst>
                    <a:ext uri="{FF2B5EF4-FFF2-40B4-BE49-F238E27FC236}">
                      <a16:creationId xmlns:a16="http://schemas.microsoft.com/office/drawing/2014/main" id="{F90932B7-D398-42C3-9F32-8AB3E9DA363A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" name="مستطيل 69">
                  <a:extLst>
                    <a:ext uri="{FF2B5EF4-FFF2-40B4-BE49-F238E27FC236}">
                      <a16:creationId xmlns:a16="http://schemas.microsoft.com/office/drawing/2014/main" id="{542CC9CE-8356-42F5-B3BE-4A9801794800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7" name="مجموعة 56">
                <a:extLst>
                  <a:ext uri="{FF2B5EF4-FFF2-40B4-BE49-F238E27FC236}">
                    <a16:creationId xmlns:a16="http://schemas.microsoft.com/office/drawing/2014/main" id="{1B4E5C89-322F-4417-9A2C-60A4E7653609}"/>
                  </a:ext>
                </a:extLst>
              </p:cNvPr>
              <p:cNvGrpSpPr/>
              <p:nvPr/>
            </p:nvGrpSpPr>
            <p:grpSpPr>
              <a:xfrm>
                <a:off x="739140" y="6243709"/>
                <a:ext cx="61049" cy="453575"/>
                <a:chOff x="1356526" y="6243709"/>
                <a:chExt cx="10835474" cy="453575"/>
              </a:xfrm>
              <a:grpFill/>
            </p:grpSpPr>
            <p:sp>
              <p:nvSpPr>
                <p:cNvPr id="67" name="مستطيل 66">
                  <a:extLst>
                    <a:ext uri="{FF2B5EF4-FFF2-40B4-BE49-F238E27FC236}">
                      <a16:creationId xmlns:a16="http://schemas.microsoft.com/office/drawing/2014/main" id="{A1A0F9DB-03AB-4946-9736-319C38DB183D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مستطيل 67">
                  <a:extLst>
                    <a:ext uri="{FF2B5EF4-FFF2-40B4-BE49-F238E27FC236}">
                      <a16:creationId xmlns:a16="http://schemas.microsoft.com/office/drawing/2014/main" id="{6DFCB452-F766-4829-B872-7D9DCEA52773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8" name="مجموعة 57">
                <a:extLst>
                  <a:ext uri="{FF2B5EF4-FFF2-40B4-BE49-F238E27FC236}">
                    <a16:creationId xmlns:a16="http://schemas.microsoft.com/office/drawing/2014/main" id="{51827EA5-3227-45E2-A430-A58DF192E4F4}"/>
                  </a:ext>
                </a:extLst>
              </p:cNvPr>
              <p:cNvGrpSpPr/>
              <p:nvPr/>
            </p:nvGrpSpPr>
            <p:grpSpPr>
              <a:xfrm>
                <a:off x="838199" y="6243709"/>
                <a:ext cx="103049" cy="453575"/>
                <a:chOff x="1356526" y="6243709"/>
                <a:chExt cx="10835474" cy="453575"/>
              </a:xfrm>
              <a:grpFill/>
            </p:grpSpPr>
            <p:sp>
              <p:nvSpPr>
                <p:cNvPr id="65" name="مستطيل 64">
                  <a:extLst>
                    <a:ext uri="{FF2B5EF4-FFF2-40B4-BE49-F238E27FC236}">
                      <a16:creationId xmlns:a16="http://schemas.microsoft.com/office/drawing/2014/main" id="{41C06D2E-2389-4A86-BE5E-81341E1DDE15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مستطيل 65">
                  <a:extLst>
                    <a:ext uri="{FF2B5EF4-FFF2-40B4-BE49-F238E27FC236}">
                      <a16:creationId xmlns:a16="http://schemas.microsoft.com/office/drawing/2014/main" id="{1C475CF2-0FB6-4E02-8542-FCD662219A6D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9" name="مجموعة 58">
                <a:extLst>
                  <a:ext uri="{FF2B5EF4-FFF2-40B4-BE49-F238E27FC236}">
                    <a16:creationId xmlns:a16="http://schemas.microsoft.com/office/drawing/2014/main" id="{9C13EBEB-90AF-48E3-8BA5-772BD139B9CF}"/>
                  </a:ext>
                </a:extLst>
              </p:cNvPr>
              <p:cNvGrpSpPr/>
              <p:nvPr/>
            </p:nvGrpSpPr>
            <p:grpSpPr>
              <a:xfrm>
                <a:off x="65237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3" name="مستطيل 62">
                  <a:extLst>
                    <a:ext uri="{FF2B5EF4-FFF2-40B4-BE49-F238E27FC236}">
                      <a16:creationId xmlns:a16="http://schemas.microsoft.com/office/drawing/2014/main" id="{E0FF81B7-A476-4C37-BBD6-EC3B387A0257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مستطيل 63">
                  <a:extLst>
                    <a:ext uri="{FF2B5EF4-FFF2-40B4-BE49-F238E27FC236}">
                      <a16:creationId xmlns:a16="http://schemas.microsoft.com/office/drawing/2014/main" id="{D32EBBC9-E4D1-40D8-BF6C-DC6A2DA37C98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0" name="مجموعة 59">
                <a:extLst>
                  <a:ext uri="{FF2B5EF4-FFF2-40B4-BE49-F238E27FC236}">
                    <a16:creationId xmlns:a16="http://schemas.microsoft.com/office/drawing/2014/main" id="{A82BD73C-8929-457F-9C0D-825A1FF5AEEA}"/>
                  </a:ext>
                </a:extLst>
              </p:cNvPr>
              <p:cNvGrpSpPr/>
              <p:nvPr/>
            </p:nvGrpSpPr>
            <p:grpSpPr>
              <a:xfrm>
                <a:off x="56093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1" name="مستطيل 60">
                  <a:extLst>
                    <a:ext uri="{FF2B5EF4-FFF2-40B4-BE49-F238E27FC236}">
                      <a16:creationId xmlns:a16="http://schemas.microsoft.com/office/drawing/2014/main" id="{E5EC4A93-AF1A-48F9-A9AD-CAF1101B4C3A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" name="مستطيل 61">
                  <a:extLst>
                    <a:ext uri="{FF2B5EF4-FFF2-40B4-BE49-F238E27FC236}">
                      <a16:creationId xmlns:a16="http://schemas.microsoft.com/office/drawing/2014/main" id="{808E3B15-4315-48B7-86E0-2699EAC3CDDE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3" name="شكل بيضاوي 52">
              <a:extLst>
                <a:ext uri="{FF2B5EF4-FFF2-40B4-BE49-F238E27FC236}">
                  <a16:creationId xmlns:a16="http://schemas.microsoft.com/office/drawing/2014/main" id="{C9AD9844-28F6-483E-9616-29C2500C8CA0}"/>
                </a:ext>
              </a:extLst>
            </p:cNvPr>
            <p:cNvSpPr/>
            <p:nvPr/>
          </p:nvSpPr>
          <p:spPr>
            <a:xfrm>
              <a:off x="11062737" y="6274553"/>
              <a:ext cx="506201" cy="33019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77" name="مربع نص 76">
            <a:extLst>
              <a:ext uri="{FF2B5EF4-FFF2-40B4-BE49-F238E27FC236}">
                <a16:creationId xmlns:a16="http://schemas.microsoft.com/office/drawing/2014/main" id="{48D1AA9B-8C7E-425C-8140-9D673870C323}"/>
              </a:ext>
            </a:extLst>
          </p:cNvPr>
          <p:cNvSpPr txBox="1"/>
          <p:nvPr/>
        </p:nvSpPr>
        <p:spPr>
          <a:xfrm>
            <a:off x="11114237" y="6332154"/>
            <a:ext cx="479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40749B"/>
                </a:solidFill>
                <a:cs typeface="AL-Mateen" pitchFamily="2" charset="-78"/>
              </a:rPr>
              <a:t>27</a:t>
            </a:r>
          </a:p>
        </p:txBody>
      </p:sp>
      <p:graphicFrame>
        <p:nvGraphicFramePr>
          <p:cNvPr id="39" name="مخطط 38">
            <a:extLst>
              <a:ext uri="{FF2B5EF4-FFF2-40B4-BE49-F238E27FC236}">
                <a16:creationId xmlns:a16="http://schemas.microsoft.com/office/drawing/2014/main" id="{73431674-74CD-4BA7-A453-5F69CB46AC7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91309" y="1141624"/>
          <a:ext cx="11809381" cy="24018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مخطط 39">
            <a:extLst>
              <a:ext uri="{FF2B5EF4-FFF2-40B4-BE49-F238E27FC236}">
                <a16:creationId xmlns:a16="http://schemas.microsoft.com/office/drawing/2014/main" id="{D9A36915-D7F8-4822-8FD0-C1333EEF970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91308" y="3489379"/>
          <a:ext cx="11763662" cy="2944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0481374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649FCD-6638-4413-A360-0FC8FE8190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2649FCD-6638-4413-A360-0FC8FE819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A80E8680-5351-4313-B101-87DCC9DB8CDC}"/>
              </a:ext>
            </a:extLst>
          </p:cNvPr>
          <p:cNvSpPr/>
          <p:nvPr/>
        </p:nvSpPr>
        <p:spPr>
          <a:xfrm>
            <a:off x="7592213" y="1257520"/>
            <a:ext cx="2765591" cy="8025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FCF3F33-3C2D-4B2B-B5B1-6F36FEEA6414}"/>
              </a:ext>
            </a:extLst>
          </p:cNvPr>
          <p:cNvSpPr txBox="1"/>
          <p:nvPr/>
        </p:nvSpPr>
        <p:spPr>
          <a:xfrm>
            <a:off x="7614194" y="1269400"/>
            <a:ext cx="27044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خدم الأدلة لإثبات الاهتمام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سياسي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lang="ar-SA" sz="1600" dirty="0">
                <a:solidFill>
                  <a:prstClr val="black"/>
                </a:solidFill>
                <a:latin typeface="Calibri" panose="020F0502020204030204"/>
              </a:rPr>
              <a:t>من اجل توفير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وارد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346FBE8-4DE4-4524-8656-353FAA474EB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75560" y="1333336"/>
            <a:ext cx="1613921" cy="106061"/>
          </a:xfrm>
          <a:prstGeom prst="bentConnector3">
            <a:avLst>
              <a:gd name="adj1" fmla="val 100165"/>
            </a:avLst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32AB2657-BD91-4761-9891-DDB4151403D7}"/>
              </a:ext>
            </a:extLst>
          </p:cNvPr>
          <p:cNvSpPr/>
          <p:nvPr/>
        </p:nvSpPr>
        <p:spPr>
          <a:xfrm>
            <a:off x="3626308" y="1873942"/>
            <a:ext cx="4730793" cy="473079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Arrow: Chevron 142">
            <a:extLst>
              <a:ext uri="{FF2B5EF4-FFF2-40B4-BE49-F238E27FC236}">
                <a16:creationId xmlns:a16="http://schemas.microsoft.com/office/drawing/2014/main" id="{6C223560-788E-481F-8EA1-FFF847C9D8E3}"/>
              </a:ext>
            </a:extLst>
          </p:cNvPr>
          <p:cNvSpPr/>
          <p:nvPr/>
        </p:nvSpPr>
        <p:spPr>
          <a:xfrm>
            <a:off x="5963830" y="1821700"/>
            <a:ext cx="223534" cy="544383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8E8354A-A47E-4C2B-A280-247106C8FD4A}"/>
              </a:ext>
            </a:extLst>
          </p:cNvPr>
          <p:cNvSpPr txBox="1"/>
          <p:nvPr/>
        </p:nvSpPr>
        <p:spPr>
          <a:xfrm rot="18029876">
            <a:off x="3463609" y="2801910"/>
            <a:ext cx="2891749" cy="1676446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917390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تعريف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0F92983-1780-4450-A9A3-B3F209D7F52D}"/>
              </a:ext>
            </a:extLst>
          </p:cNvPr>
          <p:cNvSpPr txBox="1"/>
          <p:nvPr/>
        </p:nvSpPr>
        <p:spPr>
          <a:xfrm rot="4342363">
            <a:off x="5729734" y="3003538"/>
            <a:ext cx="2891748" cy="1664387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917390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وصول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4F7E8E5-B402-4994-A3B8-4D227DF1E865}"/>
              </a:ext>
            </a:extLst>
          </p:cNvPr>
          <p:cNvSpPr/>
          <p:nvPr/>
        </p:nvSpPr>
        <p:spPr>
          <a:xfrm>
            <a:off x="4099418" y="2376287"/>
            <a:ext cx="3784574" cy="374710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Arrow: Chevron 142">
            <a:extLst>
              <a:ext uri="{FF2B5EF4-FFF2-40B4-BE49-F238E27FC236}">
                <a16:creationId xmlns:a16="http://schemas.microsoft.com/office/drawing/2014/main" id="{00C20699-A4EB-4386-A66E-36F28E865CA1}"/>
              </a:ext>
            </a:extLst>
          </p:cNvPr>
          <p:cNvSpPr/>
          <p:nvPr/>
        </p:nvSpPr>
        <p:spPr>
          <a:xfrm rot="7451539">
            <a:off x="7665833" y="5178135"/>
            <a:ext cx="223534" cy="473594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8F8654-BD32-46DB-B6AC-2CA4ED4BE084}"/>
              </a:ext>
            </a:extLst>
          </p:cNvPr>
          <p:cNvSpPr txBox="1"/>
          <p:nvPr/>
        </p:nvSpPr>
        <p:spPr>
          <a:xfrm rot="21387824">
            <a:off x="4798864" y="5247298"/>
            <a:ext cx="2706368" cy="1148820"/>
          </a:xfrm>
          <a:prstGeom prst="rect">
            <a:avLst/>
          </a:prstGeom>
          <a:noFill/>
        </p:spPr>
        <p:txBody>
          <a:bodyPr wrap="none" rtlCol="0">
            <a:prstTxWarp prst="textArchDown">
              <a:avLst>
                <a:gd name="adj" fmla="val 870414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راقبة والقياس</a:t>
            </a:r>
          </a:p>
        </p:txBody>
      </p:sp>
      <p:sp>
        <p:nvSpPr>
          <p:cNvPr id="89" name="Arrow: Chevron 142">
            <a:extLst>
              <a:ext uri="{FF2B5EF4-FFF2-40B4-BE49-F238E27FC236}">
                <a16:creationId xmlns:a16="http://schemas.microsoft.com/office/drawing/2014/main" id="{F397D0AE-28BF-4E18-8B97-A7E9514CC256}"/>
              </a:ext>
            </a:extLst>
          </p:cNvPr>
          <p:cNvSpPr/>
          <p:nvPr/>
        </p:nvSpPr>
        <p:spPr>
          <a:xfrm rot="13812854">
            <a:off x="4101622" y="5207918"/>
            <a:ext cx="223534" cy="473594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AFA0415-418D-4EF3-9962-089F16D893AD}"/>
              </a:ext>
            </a:extLst>
          </p:cNvPr>
          <p:cNvSpPr/>
          <p:nvPr/>
        </p:nvSpPr>
        <p:spPr>
          <a:xfrm>
            <a:off x="1960017" y="2775489"/>
            <a:ext cx="1316730" cy="998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FCAF3E9-0314-4319-8693-5BF363A51FAA}"/>
              </a:ext>
            </a:extLst>
          </p:cNvPr>
          <p:cNvSpPr txBox="1"/>
          <p:nvPr/>
        </p:nvSpPr>
        <p:spPr>
          <a:xfrm>
            <a:off x="2014908" y="2800850"/>
            <a:ext cx="1302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من ، أين ، لماذا ، كم عدد الأطفال دون جرعة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98A2E89-264C-4F3F-9FB5-F84B890A0606}"/>
              </a:ext>
            </a:extLst>
          </p:cNvPr>
          <p:cNvSpPr/>
          <p:nvPr/>
        </p:nvSpPr>
        <p:spPr>
          <a:xfrm rot="16845202">
            <a:off x="3685236" y="3840498"/>
            <a:ext cx="387002" cy="387002"/>
          </a:xfrm>
          <a:prstGeom prst="ellipse">
            <a:avLst/>
          </a:prstGeom>
          <a:solidFill>
            <a:schemeClr val="bg1"/>
          </a:solidFill>
          <a:ln w="28575" cap="flat">
            <a:solidFill>
              <a:schemeClr val="accent1">
                <a:lumMod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7" name="Graphic 96" descr="Magnifying glass outline">
            <a:extLst>
              <a:ext uri="{FF2B5EF4-FFF2-40B4-BE49-F238E27FC236}">
                <a16:creationId xmlns:a16="http://schemas.microsoft.com/office/drawing/2014/main" id="{FB952A86-68A0-482E-8FFF-E35AC34E1E0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845202">
            <a:off x="3723354" y="3876904"/>
            <a:ext cx="311312" cy="311312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5940C9BF-803C-4990-9272-7F32EDFF8A58}"/>
              </a:ext>
            </a:extLst>
          </p:cNvPr>
          <p:cNvSpPr/>
          <p:nvPr/>
        </p:nvSpPr>
        <p:spPr>
          <a:xfrm rot="3379520">
            <a:off x="7436705" y="2691302"/>
            <a:ext cx="393425" cy="393425"/>
          </a:xfrm>
          <a:prstGeom prst="ellipse">
            <a:avLst/>
          </a:prstGeom>
          <a:solidFill>
            <a:schemeClr val="bg1"/>
          </a:solidFill>
          <a:ln w="28575" cap="flat">
            <a:solidFill>
              <a:schemeClr val="accent1">
                <a:lumMod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5" name="Graphic 104" descr="Handshake outline">
            <a:extLst>
              <a:ext uri="{FF2B5EF4-FFF2-40B4-BE49-F238E27FC236}">
                <a16:creationId xmlns:a16="http://schemas.microsoft.com/office/drawing/2014/main" id="{40CEA6D6-0475-4DA9-AC7F-EC7EF80BBB3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3379520">
            <a:off x="7462621" y="2738141"/>
            <a:ext cx="316479" cy="316479"/>
          </a:xfrm>
          <a:prstGeom prst="rect">
            <a:avLst/>
          </a:prstGeom>
        </p:spPr>
      </p:pic>
      <p:sp>
        <p:nvSpPr>
          <p:cNvPr id="109" name="Oval 108">
            <a:extLst>
              <a:ext uri="{FF2B5EF4-FFF2-40B4-BE49-F238E27FC236}">
                <a16:creationId xmlns:a16="http://schemas.microsoft.com/office/drawing/2014/main" id="{BA0E4AFD-E1A7-4961-BB71-012EA210679A}"/>
              </a:ext>
            </a:extLst>
          </p:cNvPr>
          <p:cNvSpPr/>
          <p:nvPr/>
        </p:nvSpPr>
        <p:spPr>
          <a:xfrm>
            <a:off x="4412616" y="5639401"/>
            <a:ext cx="368691" cy="368691"/>
          </a:xfrm>
          <a:prstGeom prst="ellipse">
            <a:avLst/>
          </a:prstGeom>
          <a:solidFill>
            <a:schemeClr val="bg1"/>
          </a:solidFill>
          <a:ln w="28575" cap="flat">
            <a:solidFill>
              <a:srgbClr val="002060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0" name="Graphic 109" descr="Upward trend outline">
            <a:extLst>
              <a:ext uri="{FF2B5EF4-FFF2-40B4-BE49-F238E27FC236}">
                <a16:creationId xmlns:a16="http://schemas.microsoft.com/office/drawing/2014/main" id="{988BFF6A-D2A6-44DD-B1FA-F3F983B5FB7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45325" y="5679144"/>
            <a:ext cx="296582" cy="296582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E8BC3766-4A40-4704-98B3-1ADE69341ACD}"/>
              </a:ext>
            </a:extLst>
          </p:cNvPr>
          <p:cNvSpPr/>
          <p:nvPr/>
        </p:nvSpPr>
        <p:spPr>
          <a:xfrm>
            <a:off x="3427561" y="1700052"/>
            <a:ext cx="5129361" cy="5078573"/>
          </a:xfrm>
          <a:prstGeom prst="ellipse">
            <a:avLst/>
          </a:prstGeom>
          <a:noFill/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EBD76A1-4B8D-4DB7-A884-6CC8F869A6EA}"/>
              </a:ext>
            </a:extLst>
          </p:cNvPr>
          <p:cNvSpPr txBox="1"/>
          <p:nvPr/>
        </p:nvSpPr>
        <p:spPr>
          <a:xfrm>
            <a:off x="5427606" y="1494003"/>
            <a:ext cx="141134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يدافع عن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EB0CC41-9282-436D-92C7-EBE414A33C2D}"/>
              </a:ext>
            </a:extLst>
          </p:cNvPr>
          <p:cNvCxnSpPr>
            <a:cxnSpLocks/>
          </p:cNvCxnSpPr>
          <p:nvPr/>
        </p:nvCxnSpPr>
        <p:spPr>
          <a:xfrm flipH="1">
            <a:off x="3270930" y="3155023"/>
            <a:ext cx="662012" cy="7031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218E6E3-FF9C-437C-9653-08B847235AE5}"/>
              </a:ext>
            </a:extLst>
          </p:cNvPr>
          <p:cNvCxnSpPr/>
          <p:nvPr/>
        </p:nvCxnSpPr>
        <p:spPr>
          <a:xfrm>
            <a:off x="3696352" y="3152529"/>
            <a:ext cx="204123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BB0CC3B-717D-4B02-BCF4-074BE6ED9686}"/>
              </a:ext>
            </a:extLst>
          </p:cNvPr>
          <p:cNvCxnSpPr>
            <a:cxnSpLocks/>
          </p:cNvCxnSpPr>
          <p:nvPr/>
        </p:nvCxnSpPr>
        <p:spPr>
          <a:xfrm flipH="1">
            <a:off x="8148425" y="3545114"/>
            <a:ext cx="98564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EC35959-7626-454C-ADF9-3AC544235D69}"/>
              </a:ext>
            </a:extLst>
          </p:cNvPr>
          <p:cNvCxnSpPr/>
          <p:nvPr/>
        </p:nvCxnSpPr>
        <p:spPr>
          <a:xfrm>
            <a:off x="8273965" y="3539179"/>
            <a:ext cx="204123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8CD4A14-A7C6-4E26-9B2A-C730C29285D2}"/>
              </a:ext>
            </a:extLst>
          </p:cNvPr>
          <p:cNvSpPr/>
          <p:nvPr/>
        </p:nvSpPr>
        <p:spPr>
          <a:xfrm>
            <a:off x="1053492" y="5326727"/>
            <a:ext cx="2079278" cy="7972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62BE379-2636-4B6B-B1F6-F973AAC839DB}"/>
              </a:ext>
            </a:extLst>
          </p:cNvPr>
          <p:cNvSpPr txBox="1"/>
          <p:nvPr/>
        </p:nvSpPr>
        <p:spPr>
          <a:xfrm>
            <a:off x="1149504" y="5326726"/>
            <a:ext cx="19190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شاشة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في الوقت الحالى</a:t>
            </a:r>
          </a:p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يقيس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نتائج</a:t>
            </a:r>
          </a:p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تعلم كيف تتحسن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DCDA8BD-5E01-4195-A9B8-304702CC9641}"/>
              </a:ext>
            </a:extLst>
          </p:cNvPr>
          <p:cNvSpPr/>
          <p:nvPr/>
        </p:nvSpPr>
        <p:spPr>
          <a:xfrm>
            <a:off x="8870294" y="3162055"/>
            <a:ext cx="2017173" cy="2257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راتيجيات مصممة ومستدامة تعالج حواجز جانب العرض والطلب وتكون بمثابة منصة للرعاية الصحية الأولية المتكاملة على مدى الحياة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ACB278A0-3099-4FE6-8A97-0B8CAAF3393F}"/>
              </a:ext>
            </a:extLst>
          </p:cNvPr>
          <p:cNvSpPr txBox="1"/>
          <p:nvPr/>
        </p:nvSpPr>
        <p:spPr>
          <a:xfrm>
            <a:off x="6412992" y="2917450"/>
            <a:ext cx="10371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راتيجيات المصمم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A8ADC0A-B4A6-46B5-AE59-DC3461651AA8}"/>
              </a:ext>
            </a:extLst>
          </p:cNvPr>
          <p:cNvSpPr txBox="1"/>
          <p:nvPr/>
        </p:nvSpPr>
        <p:spPr>
          <a:xfrm>
            <a:off x="6412992" y="4627906"/>
            <a:ext cx="13696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تكامل والاستدامة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A8D7650-92B0-47B4-A4F2-89A75260DC7A}"/>
              </a:ext>
            </a:extLst>
          </p:cNvPr>
          <p:cNvSpPr txBox="1"/>
          <p:nvPr/>
        </p:nvSpPr>
        <p:spPr>
          <a:xfrm>
            <a:off x="4458382" y="2917450"/>
            <a:ext cx="117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مع وافهم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32EDBDDB-0477-49CF-BBEC-06814EFA0B58}"/>
              </a:ext>
            </a:extLst>
          </p:cNvPr>
          <p:cNvSpPr/>
          <p:nvPr/>
        </p:nvSpPr>
        <p:spPr>
          <a:xfrm>
            <a:off x="5402955" y="3640807"/>
            <a:ext cx="1197303" cy="1197304"/>
          </a:xfrm>
          <a:prstGeom prst="ellipse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10177ED-3359-4C6C-AFF6-EBFE5362BDB3}"/>
              </a:ext>
            </a:extLst>
          </p:cNvPr>
          <p:cNvSpPr txBox="1"/>
          <p:nvPr/>
        </p:nvSpPr>
        <p:spPr>
          <a:xfrm>
            <a:off x="5431686" y="3849797"/>
            <a:ext cx="11591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جتمعات الخالية من الجرعة والمفقودة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4C99532-F6DC-4FC4-AC18-6E4FE17B9B1B}"/>
              </a:ext>
            </a:extLst>
          </p:cNvPr>
          <p:cNvSpPr txBox="1"/>
          <p:nvPr/>
        </p:nvSpPr>
        <p:spPr>
          <a:xfrm>
            <a:off x="4458382" y="4627906"/>
            <a:ext cx="117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بحث و صِف</a:t>
            </a: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85AD32D2-F798-4441-9075-7C69805A781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RMMA (التحديد ، والوصول ، والقياس ، والمراقبة ، والتأييد):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ستخدام استراتيجية الجرعة الصفرية لتعزيز الرعاية الصحية الأولية عبر مسار الحياة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3049626-D704-41F4-8340-9D403444CE79}"/>
              </a:ext>
            </a:extLst>
          </p:cNvPr>
          <p:cNvCxnSpPr>
            <a:cxnSpLocks/>
          </p:cNvCxnSpPr>
          <p:nvPr/>
        </p:nvCxnSpPr>
        <p:spPr>
          <a:xfrm flipH="1">
            <a:off x="3117250" y="5832425"/>
            <a:ext cx="1121760" cy="7031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1E23005-B03D-4037-9BC3-04E5B4714102}"/>
              </a:ext>
            </a:extLst>
          </p:cNvPr>
          <p:cNvCxnSpPr/>
          <p:nvPr/>
        </p:nvCxnSpPr>
        <p:spPr>
          <a:xfrm>
            <a:off x="3998675" y="5829931"/>
            <a:ext cx="272401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7352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3BC5866-4C0C-4F34-82F0-788F2A027D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5727300"/>
              </p:ext>
            </p:extLst>
          </p:nvPr>
        </p:nvGraphicFramePr>
        <p:xfrm>
          <a:off x="4683760" y="358956"/>
          <a:ext cx="6963773" cy="5957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399CAC3-C2A2-4C37-84A8-5B3B079CF939}"/>
              </a:ext>
            </a:extLst>
          </p:cNvPr>
          <p:cNvSpPr txBox="1"/>
          <p:nvPr/>
        </p:nvSpPr>
        <p:spPr>
          <a:xfrm>
            <a:off x="538480" y="599440"/>
            <a:ext cx="3210560" cy="480131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في 120 مديرية لوحظ انخفاض للجرعة الصفرية 2018- 2019</a:t>
            </a: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ولكن أيضا يلاحظ ارتفاع مطعمين فوق العام </a:t>
            </a: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وهذا ما يقوي الاعتقاد بان حركة نزوح موجودة </a:t>
            </a: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يلاحظ أيضا ارتفاع الجرعة الصفرية </a:t>
            </a: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ar-SA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مشكلة دقة بيانات </a:t>
            </a: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اما بيانات التطعيم </a:t>
            </a:r>
          </a:p>
          <a:p>
            <a:r>
              <a:rPr lang="ar-SA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بيانات المستهدف و النزوح</a:t>
            </a:r>
            <a:endParaRPr lang="en-US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6926145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B7767B7-2DF0-46D0-9DBC-6642574976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4491222"/>
              </p:ext>
            </p:extLst>
          </p:nvPr>
        </p:nvGraphicFramePr>
        <p:xfrm>
          <a:off x="785166" y="250825"/>
          <a:ext cx="11157789" cy="6071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4A97A1-0D8E-41DB-8305-08F7E3361521}"/>
              </a:ext>
            </a:extLst>
          </p:cNvPr>
          <p:cNvSpPr txBox="1"/>
          <p:nvPr/>
        </p:nvSpPr>
        <p:spPr>
          <a:xfrm>
            <a:off x="134927" y="750251"/>
            <a:ext cx="461665" cy="2817496"/>
          </a:xfrm>
          <a:prstGeom prst="rect">
            <a:avLst/>
          </a:prstGeom>
          <a:noFill/>
        </p:spPr>
        <p:txBody>
          <a:bodyPr vert="vert270" wrap="square" rtlCol="1">
            <a:spAutoFit/>
          </a:bodyPr>
          <a:lstStyle/>
          <a:p>
            <a:r>
              <a:rPr lang="ar-SA" b="1" dirty="0"/>
              <a:t>الجرعة الصفرية دون العام  خماسي </a:t>
            </a:r>
            <a:endParaRPr lang="ar-YE" b="1" dirty="0"/>
          </a:p>
        </p:txBody>
      </p:sp>
    </p:spTree>
    <p:extLst>
      <p:ext uri="{BB962C8B-B14F-4D97-AF65-F5344CB8AC3E}">
        <p14:creationId xmlns:p14="http://schemas.microsoft.com/office/powerpoint/2010/main" val="11366256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B3BC5866-4C0C-4F34-82F0-788F2A027D5D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683760" y="358956"/>
          <a:ext cx="6963773" cy="5957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A37A34AC-BE78-4E9B-A5D0-988D35254404}"/>
              </a:ext>
            </a:extLst>
          </p:cNvPr>
          <p:cNvSpPr txBox="1"/>
          <p:nvPr/>
        </p:nvSpPr>
        <p:spPr>
          <a:xfrm>
            <a:off x="544467" y="479346"/>
            <a:ext cx="3755753" cy="224676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fld id="{E3B9464F-5D67-464C-8707-E5392E27AA33}" type="VALUE">
              <a:rPr lang="en-US" sz="2800" smtClean="0"/>
              <a:pPr/>
              <a:t> (19,989)</a:t>
            </a:fld>
            <a:r>
              <a:rPr lang="en-US" sz="2800" dirty="0"/>
              <a:t> </a:t>
            </a:r>
            <a:r>
              <a:rPr lang="ar-SA" sz="2800" dirty="0"/>
              <a:t>جرعة صفرية بالسالب نتيجة نزوح او عدم دقة مستهدف </a:t>
            </a:r>
          </a:p>
          <a:p>
            <a:r>
              <a:rPr lang="ar-SA" sz="2800" dirty="0"/>
              <a:t>وهذا غير صحيح نضيف العدد </a:t>
            </a:r>
            <a:r>
              <a:rPr lang="ar-YE" sz="2800" dirty="0"/>
              <a:t>48,077 </a:t>
            </a:r>
            <a:r>
              <a:rPr lang="ar-SA" sz="2800" dirty="0"/>
              <a:t>  </a:t>
            </a:r>
            <a:endParaRPr lang="ar-YE" sz="2800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6B64ECD-0E68-41FC-BBAD-968F4C4BE5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416775"/>
              </p:ext>
            </p:extLst>
          </p:nvPr>
        </p:nvGraphicFramePr>
        <p:xfrm>
          <a:off x="936443" y="2893219"/>
          <a:ext cx="2971800" cy="3252470"/>
        </p:xfrm>
        <a:graphic>
          <a:graphicData uri="http://schemas.openxmlformats.org/drawingml/2006/table">
            <a:tbl>
              <a:tblPr/>
              <a:tblGrid>
                <a:gridCol w="1407695">
                  <a:extLst>
                    <a:ext uri="{9D8B030D-6E8A-4147-A177-3AD203B41FA5}">
                      <a16:colId xmlns:a16="http://schemas.microsoft.com/office/drawing/2014/main" val="2807988820"/>
                    </a:ext>
                  </a:extLst>
                </a:gridCol>
                <a:gridCol w="1564105">
                  <a:extLst>
                    <a:ext uri="{9D8B030D-6E8A-4147-A177-3AD203B41FA5}">
                      <a16:colId xmlns:a16="http://schemas.microsoft.com/office/drawing/2014/main" val="3071312135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GOV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Zero dose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917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by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5,023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219766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de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1,922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5665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_Dhale'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5,431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33841369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_Hodyda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517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1083131"/>
                  </a:ext>
                </a:extLst>
              </a:tr>
              <a:tr h="12684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L_Mahra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1,301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759636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ahj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5,561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350570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a'areb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ar-YE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910174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okll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1,109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1051496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ay'on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4,232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96253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habwah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7,518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7783379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catra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  671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086475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iz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ar-YE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14,792 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20812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56389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BB7767B7-2DF0-46D0-9DBC-66425749761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115351"/>
              </p:ext>
            </p:extLst>
          </p:nvPr>
        </p:nvGraphicFramePr>
        <p:xfrm>
          <a:off x="785167" y="149226"/>
          <a:ext cx="10505440" cy="3418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84A97A1-0D8E-41DB-8305-08F7E3361521}"/>
              </a:ext>
            </a:extLst>
          </p:cNvPr>
          <p:cNvSpPr txBox="1"/>
          <p:nvPr/>
        </p:nvSpPr>
        <p:spPr>
          <a:xfrm>
            <a:off x="134927" y="750251"/>
            <a:ext cx="461665" cy="2817496"/>
          </a:xfrm>
          <a:prstGeom prst="rect">
            <a:avLst/>
          </a:prstGeom>
          <a:noFill/>
        </p:spPr>
        <p:txBody>
          <a:bodyPr vert="vert270" wrap="square" rtlCol="1">
            <a:spAutoFit/>
          </a:bodyPr>
          <a:lstStyle/>
          <a:p>
            <a:r>
              <a:rPr lang="ar-SA" b="1" dirty="0"/>
              <a:t>الجرعة الصفرية دون العام  خماسي </a:t>
            </a:r>
            <a:endParaRPr lang="ar-YE" b="1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8B81031-020E-4D69-84FE-5CCB7AE6DEC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5208514"/>
              </p:ext>
            </p:extLst>
          </p:nvPr>
        </p:nvGraphicFramePr>
        <p:xfrm>
          <a:off x="1238346" y="3507058"/>
          <a:ext cx="10505440" cy="3500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4029A6E-776E-4E24-897B-406BCF3373ED}"/>
              </a:ext>
            </a:extLst>
          </p:cNvPr>
          <p:cNvSpPr txBox="1"/>
          <p:nvPr/>
        </p:nvSpPr>
        <p:spPr>
          <a:xfrm>
            <a:off x="77862" y="3789950"/>
            <a:ext cx="461665" cy="2793458"/>
          </a:xfrm>
          <a:prstGeom prst="rect">
            <a:avLst/>
          </a:prstGeom>
          <a:noFill/>
        </p:spPr>
        <p:txBody>
          <a:bodyPr vert="vert270" wrap="square" rtlCol="1">
            <a:spAutoFit/>
          </a:bodyPr>
          <a:lstStyle/>
          <a:p>
            <a:r>
              <a:rPr lang="ar-SA" dirty="0"/>
              <a:t>الجرعة الأولى فوق العام خماسي </a:t>
            </a:r>
            <a:endParaRPr lang="ar-YE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71B9ED-FDF3-4028-B8BC-0241BE9FBDA1}"/>
              </a:ext>
            </a:extLst>
          </p:cNvPr>
          <p:cNvSpPr txBox="1"/>
          <p:nvPr/>
        </p:nvSpPr>
        <p:spPr>
          <a:xfrm>
            <a:off x="1100571" y="4413766"/>
            <a:ext cx="10505440" cy="1815882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r>
              <a:rPr lang="ar-SA" sz="2800" dirty="0">
                <a:solidFill>
                  <a:srgbClr val="C00000"/>
                </a:solidFill>
              </a:rPr>
              <a:t>قد يتطلب ان يتم مقارنة الجرعة الصفرية ان تقارن مع عدد المطعمين فوق العام للعام السابق يتضح الخطاء في المستهدف  وتاكيد ذلك </a:t>
            </a:r>
          </a:p>
          <a:p>
            <a:endParaRPr lang="ar-SA" sz="2800" dirty="0">
              <a:solidFill>
                <a:srgbClr val="C00000"/>
              </a:solidFill>
            </a:endParaRPr>
          </a:p>
          <a:p>
            <a:r>
              <a:rPr lang="ar-SA" sz="2800" dirty="0">
                <a:solidFill>
                  <a:srgbClr val="C00000"/>
                </a:solidFill>
              </a:rPr>
              <a:t> </a:t>
            </a:r>
            <a:endParaRPr lang="ar-YE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9305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BB043-7190-4FF1-B7D2-8B2ABF4451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 rtl="1"/>
            <a:r>
              <a:rPr lang="ar-SA" dirty="0"/>
              <a:t>دراسة و طلب معلومات على مستوى ادنى و مستوى ادنى حتى تشكيل صورة لتركز الأطفال الجرعة الصفرية 	</a:t>
            </a:r>
            <a:endParaRPr lang="ar-Y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586A88-E5E6-4F93-839D-E4D64C58D6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96068" y="1825625"/>
            <a:ext cx="9357732" cy="4351338"/>
          </a:xfrm>
        </p:spPr>
        <p:txBody>
          <a:bodyPr/>
          <a:lstStyle/>
          <a:p>
            <a:pPr algn="r" rtl="1"/>
            <a:r>
              <a:rPr lang="ar-SA" dirty="0"/>
              <a:t> الاجماليات العامة تخدع و لا تظهر اين الجرعة الصفرية و خصوصا عند ظهور اعداد سالبة</a:t>
            </a:r>
          </a:p>
          <a:p>
            <a:pPr algn="r" rtl="1"/>
            <a:r>
              <a:rPr lang="ar-SA" dirty="0"/>
              <a:t>المستوى الأدنى هو المطلوب من اجل تحديد اين الجرعة الصفرية اين ومتى حدث و لماذا </a:t>
            </a:r>
          </a:p>
          <a:p>
            <a:pPr algn="r" rtl="1"/>
            <a:r>
              <a:rPr lang="ar-SA" dirty="0"/>
              <a:t>على كل مستوى اداري التدقيق في المستوى الأدنى منه ( البحث عن تفاصيل)</a:t>
            </a:r>
          </a:p>
          <a:p>
            <a:pPr algn="r" rtl="1"/>
            <a:r>
              <a:rPr lang="ar-SA" dirty="0"/>
              <a:t>سيتطلب الامر ان نحصل على بيانات خارجية مثل التغذية صحة الطفل الصحة لانجابية </a:t>
            </a:r>
          </a:p>
          <a:p>
            <a:pPr algn="r" rtl="1"/>
            <a:r>
              <a:rPr lang="ar-SA" dirty="0"/>
              <a:t>رعاية الحوامل ( و الولادات المسجلة )</a:t>
            </a:r>
          </a:p>
          <a:p>
            <a:pPr algn="r" rtl="1"/>
            <a:r>
              <a:rPr lang="ar-SA" dirty="0"/>
              <a:t>سيتطلب الامر أيضا لا حقا ان يتم مراجعة حركة السكانية نزوح ...</a:t>
            </a:r>
            <a:endParaRPr lang="ar-YE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Slide Zoom 6">
                <a:extLst>
                  <a:ext uri="{FF2B5EF4-FFF2-40B4-BE49-F238E27FC236}">
                    <a16:creationId xmlns:a16="http://schemas.microsoft.com/office/drawing/2014/main" id="{10A039D8-8429-4A11-8DE6-8A9986E9FBC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465127915"/>
                  </p:ext>
                </p:extLst>
              </p:nvPr>
            </p:nvGraphicFramePr>
            <p:xfrm>
              <a:off x="104296" y="4597400"/>
              <a:ext cx="3048000" cy="1714500"/>
            </p:xfrm>
            <a:graphic>
              <a:graphicData uri="http://schemas.microsoft.com/office/powerpoint/2016/slidezoom">
                <pslz:sldZm>
                  <pslz:sldZmObj sldId="2147473690" cId="3437719704">
                    <pslz:zmPr id="{11E50A50-3E26-42CD-B97C-EDF958660B26}" returnToParent="0" transitionDur="1000">
                      <p166:blipFill xmlns:p166="http://schemas.microsoft.com/office/powerpoint/2016/6/main">
                        <a:blip r:embed="rId2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048000" cy="1714500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Slide Zoom 6">
                <a:hlinkClick r:id="rId3" action="ppaction://hlinksldjump"/>
                <a:extLst>
                  <a:ext uri="{FF2B5EF4-FFF2-40B4-BE49-F238E27FC236}">
                    <a16:creationId xmlns:a16="http://schemas.microsoft.com/office/drawing/2014/main" id="{10A039D8-8429-4A11-8DE6-8A9986E9FBC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04296" y="4597400"/>
                <a:ext cx="3048000" cy="1714500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9839801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2649FCD-6638-4413-A360-0FC8FE8190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2649FCD-6638-4413-A360-0FC8FE8190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A80E8680-5351-4313-B101-87DCC9DB8CDC}"/>
              </a:ext>
            </a:extLst>
          </p:cNvPr>
          <p:cNvSpPr/>
          <p:nvPr/>
        </p:nvSpPr>
        <p:spPr>
          <a:xfrm>
            <a:off x="7592213" y="1257520"/>
            <a:ext cx="2765591" cy="8025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FCF3F33-3C2D-4B2B-B5B1-6F36FEEA6414}"/>
              </a:ext>
            </a:extLst>
          </p:cNvPr>
          <p:cNvSpPr txBox="1"/>
          <p:nvPr/>
        </p:nvSpPr>
        <p:spPr>
          <a:xfrm>
            <a:off x="7614194" y="1269400"/>
            <a:ext cx="27044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خدم الأدلة لإثبات الاهتمام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سياسي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lang="ar-SA" sz="1600" dirty="0">
                <a:solidFill>
                  <a:prstClr val="black"/>
                </a:solidFill>
                <a:latin typeface="Calibri" panose="020F0502020204030204"/>
              </a:rPr>
              <a:t>من اجل توفير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وارد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4346FBE8-4DE4-4524-8656-353FAA474EB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75560" y="1333336"/>
            <a:ext cx="1613921" cy="106061"/>
          </a:xfrm>
          <a:prstGeom prst="bentConnector3">
            <a:avLst>
              <a:gd name="adj1" fmla="val 100165"/>
            </a:avLst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32AB2657-BD91-4761-9891-DDB4151403D7}"/>
              </a:ext>
            </a:extLst>
          </p:cNvPr>
          <p:cNvSpPr/>
          <p:nvPr/>
        </p:nvSpPr>
        <p:spPr>
          <a:xfrm>
            <a:off x="3626308" y="1873942"/>
            <a:ext cx="4730793" cy="473079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9" name="Arrow: Chevron 142">
            <a:extLst>
              <a:ext uri="{FF2B5EF4-FFF2-40B4-BE49-F238E27FC236}">
                <a16:creationId xmlns:a16="http://schemas.microsoft.com/office/drawing/2014/main" id="{6C223560-788E-481F-8EA1-FFF847C9D8E3}"/>
              </a:ext>
            </a:extLst>
          </p:cNvPr>
          <p:cNvSpPr/>
          <p:nvPr/>
        </p:nvSpPr>
        <p:spPr>
          <a:xfrm>
            <a:off x="5963830" y="1821700"/>
            <a:ext cx="223534" cy="544383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8E8354A-A47E-4C2B-A280-247106C8FD4A}"/>
              </a:ext>
            </a:extLst>
          </p:cNvPr>
          <p:cNvSpPr txBox="1"/>
          <p:nvPr/>
        </p:nvSpPr>
        <p:spPr>
          <a:xfrm rot="18029876">
            <a:off x="3463609" y="2801910"/>
            <a:ext cx="2891749" cy="1676446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917390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تعريف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0F92983-1780-4450-A9A3-B3F209D7F52D}"/>
              </a:ext>
            </a:extLst>
          </p:cNvPr>
          <p:cNvSpPr txBox="1"/>
          <p:nvPr/>
        </p:nvSpPr>
        <p:spPr>
          <a:xfrm rot="4342363">
            <a:off x="5729734" y="3003538"/>
            <a:ext cx="2891748" cy="1664387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0917390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وصول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4F7E8E5-B402-4994-A3B8-4D227DF1E865}"/>
              </a:ext>
            </a:extLst>
          </p:cNvPr>
          <p:cNvSpPr/>
          <p:nvPr/>
        </p:nvSpPr>
        <p:spPr>
          <a:xfrm>
            <a:off x="4099418" y="2376287"/>
            <a:ext cx="3784574" cy="374710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8" name="Arrow: Chevron 142">
            <a:extLst>
              <a:ext uri="{FF2B5EF4-FFF2-40B4-BE49-F238E27FC236}">
                <a16:creationId xmlns:a16="http://schemas.microsoft.com/office/drawing/2014/main" id="{00C20699-A4EB-4386-A66E-36F28E865CA1}"/>
              </a:ext>
            </a:extLst>
          </p:cNvPr>
          <p:cNvSpPr/>
          <p:nvPr/>
        </p:nvSpPr>
        <p:spPr>
          <a:xfrm rot="7451539">
            <a:off x="7665833" y="5178135"/>
            <a:ext cx="223534" cy="473594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8F8654-BD32-46DB-B6AC-2CA4ED4BE084}"/>
              </a:ext>
            </a:extLst>
          </p:cNvPr>
          <p:cNvSpPr txBox="1"/>
          <p:nvPr/>
        </p:nvSpPr>
        <p:spPr>
          <a:xfrm rot="21387824">
            <a:off x="4798864" y="5247298"/>
            <a:ext cx="2706368" cy="1148820"/>
          </a:xfrm>
          <a:prstGeom prst="rect">
            <a:avLst/>
          </a:prstGeom>
          <a:noFill/>
        </p:spPr>
        <p:txBody>
          <a:bodyPr wrap="none" rtlCol="0">
            <a:prstTxWarp prst="textArchDown">
              <a:avLst>
                <a:gd name="adj" fmla="val 870414"/>
              </a:avLst>
            </a:prstTxWarp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راقبة والقياس</a:t>
            </a:r>
          </a:p>
        </p:txBody>
      </p:sp>
      <p:sp>
        <p:nvSpPr>
          <p:cNvPr id="89" name="Arrow: Chevron 142">
            <a:extLst>
              <a:ext uri="{FF2B5EF4-FFF2-40B4-BE49-F238E27FC236}">
                <a16:creationId xmlns:a16="http://schemas.microsoft.com/office/drawing/2014/main" id="{F397D0AE-28BF-4E18-8B97-A7E9514CC256}"/>
              </a:ext>
            </a:extLst>
          </p:cNvPr>
          <p:cNvSpPr/>
          <p:nvPr/>
        </p:nvSpPr>
        <p:spPr>
          <a:xfrm rot="13812854">
            <a:off x="4101622" y="5207918"/>
            <a:ext cx="223534" cy="473594"/>
          </a:xfrm>
          <a:custGeom>
            <a:avLst/>
            <a:gdLst>
              <a:gd name="connsiteX0" fmla="*/ 0 w 74143"/>
              <a:gd name="connsiteY0" fmla="*/ 0 h 642080"/>
              <a:gd name="connsiteX1" fmla="*/ 37072 w 74143"/>
              <a:gd name="connsiteY1" fmla="*/ 0 h 642080"/>
              <a:gd name="connsiteX2" fmla="*/ 74143 w 74143"/>
              <a:gd name="connsiteY2" fmla="*/ 321040 h 642080"/>
              <a:gd name="connsiteX3" fmla="*/ 37072 w 74143"/>
              <a:gd name="connsiteY3" fmla="*/ 642080 h 642080"/>
              <a:gd name="connsiteX4" fmla="*/ 0 w 74143"/>
              <a:gd name="connsiteY4" fmla="*/ 642080 h 642080"/>
              <a:gd name="connsiteX5" fmla="*/ 37072 w 74143"/>
              <a:gd name="connsiteY5" fmla="*/ 321040 h 642080"/>
              <a:gd name="connsiteX6" fmla="*/ 0 w 74143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37072 w 243476"/>
              <a:gd name="connsiteY5" fmla="*/ 321040 h 642080"/>
              <a:gd name="connsiteX6" fmla="*/ 0 w 243476"/>
              <a:gd name="connsiteY6" fmla="*/ 0 h 642080"/>
              <a:gd name="connsiteX0" fmla="*/ 0 w 243476"/>
              <a:gd name="connsiteY0" fmla="*/ 0 h 642080"/>
              <a:gd name="connsiteX1" fmla="*/ 37072 w 243476"/>
              <a:gd name="connsiteY1" fmla="*/ 0 h 642080"/>
              <a:gd name="connsiteX2" fmla="*/ 243476 w 243476"/>
              <a:gd name="connsiteY2" fmla="*/ 333135 h 642080"/>
              <a:gd name="connsiteX3" fmla="*/ 37072 w 243476"/>
              <a:gd name="connsiteY3" fmla="*/ 642080 h 642080"/>
              <a:gd name="connsiteX4" fmla="*/ 0 w 243476"/>
              <a:gd name="connsiteY4" fmla="*/ 642080 h 642080"/>
              <a:gd name="connsiteX5" fmla="*/ 203986 w 243476"/>
              <a:gd name="connsiteY5" fmla="*/ 333135 h 642080"/>
              <a:gd name="connsiteX6" fmla="*/ 0 w 243476"/>
              <a:gd name="connsiteY6" fmla="*/ 0 h 642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3476" h="642080">
                <a:moveTo>
                  <a:pt x="0" y="0"/>
                </a:moveTo>
                <a:lnTo>
                  <a:pt x="37072" y="0"/>
                </a:lnTo>
                <a:lnTo>
                  <a:pt x="243476" y="333135"/>
                </a:lnTo>
                <a:lnTo>
                  <a:pt x="37072" y="642080"/>
                </a:lnTo>
                <a:lnTo>
                  <a:pt x="0" y="642080"/>
                </a:lnTo>
                <a:lnTo>
                  <a:pt x="203986" y="333135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AFA0415-418D-4EF3-9962-089F16D893AD}"/>
              </a:ext>
            </a:extLst>
          </p:cNvPr>
          <p:cNvSpPr/>
          <p:nvPr/>
        </p:nvSpPr>
        <p:spPr>
          <a:xfrm>
            <a:off x="1960017" y="2775489"/>
            <a:ext cx="1316730" cy="9981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6FCAF3E9-0314-4319-8693-5BF363A51FAA}"/>
              </a:ext>
            </a:extLst>
          </p:cNvPr>
          <p:cNvSpPr txBox="1"/>
          <p:nvPr/>
        </p:nvSpPr>
        <p:spPr>
          <a:xfrm>
            <a:off x="2014908" y="2800850"/>
            <a:ext cx="13021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من ، أين ، لماذا ، كم عدد الأطفال دون جرعة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998A2E89-264C-4F3F-9FB5-F84B890A0606}"/>
              </a:ext>
            </a:extLst>
          </p:cNvPr>
          <p:cNvSpPr/>
          <p:nvPr/>
        </p:nvSpPr>
        <p:spPr>
          <a:xfrm rot="16845202">
            <a:off x="3685236" y="3840498"/>
            <a:ext cx="387002" cy="387002"/>
          </a:xfrm>
          <a:prstGeom prst="ellipse">
            <a:avLst/>
          </a:prstGeom>
          <a:solidFill>
            <a:schemeClr val="bg1"/>
          </a:solidFill>
          <a:ln w="28575" cap="flat">
            <a:solidFill>
              <a:schemeClr val="accent1">
                <a:lumMod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7" name="Graphic 96" descr="Magnifying glass outline">
            <a:extLst>
              <a:ext uri="{FF2B5EF4-FFF2-40B4-BE49-F238E27FC236}">
                <a16:creationId xmlns:a16="http://schemas.microsoft.com/office/drawing/2014/main" id="{FB952A86-68A0-482E-8FFF-E35AC34E1E0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16845202">
            <a:off x="3723354" y="3876904"/>
            <a:ext cx="311312" cy="311312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5940C9BF-803C-4990-9272-7F32EDFF8A58}"/>
              </a:ext>
            </a:extLst>
          </p:cNvPr>
          <p:cNvSpPr/>
          <p:nvPr/>
        </p:nvSpPr>
        <p:spPr>
          <a:xfrm rot="3379520">
            <a:off x="7436705" y="2691302"/>
            <a:ext cx="393425" cy="393425"/>
          </a:xfrm>
          <a:prstGeom prst="ellipse">
            <a:avLst/>
          </a:prstGeom>
          <a:solidFill>
            <a:schemeClr val="bg1"/>
          </a:solidFill>
          <a:ln w="28575" cap="flat">
            <a:solidFill>
              <a:schemeClr val="accent1">
                <a:lumMod val="50000"/>
              </a:schemeClr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5" name="Graphic 104" descr="Handshake outline">
            <a:extLst>
              <a:ext uri="{FF2B5EF4-FFF2-40B4-BE49-F238E27FC236}">
                <a16:creationId xmlns:a16="http://schemas.microsoft.com/office/drawing/2014/main" id="{40CEA6D6-0475-4DA9-AC7F-EC7EF80BBB3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3379520">
            <a:off x="7462621" y="2738141"/>
            <a:ext cx="316479" cy="316479"/>
          </a:xfrm>
          <a:prstGeom prst="rect">
            <a:avLst/>
          </a:prstGeom>
        </p:spPr>
      </p:pic>
      <p:sp>
        <p:nvSpPr>
          <p:cNvPr id="109" name="Oval 108">
            <a:extLst>
              <a:ext uri="{FF2B5EF4-FFF2-40B4-BE49-F238E27FC236}">
                <a16:creationId xmlns:a16="http://schemas.microsoft.com/office/drawing/2014/main" id="{BA0E4AFD-E1A7-4961-BB71-012EA210679A}"/>
              </a:ext>
            </a:extLst>
          </p:cNvPr>
          <p:cNvSpPr/>
          <p:nvPr/>
        </p:nvSpPr>
        <p:spPr>
          <a:xfrm>
            <a:off x="4412616" y="5639401"/>
            <a:ext cx="368691" cy="368691"/>
          </a:xfrm>
          <a:prstGeom prst="ellipse">
            <a:avLst/>
          </a:prstGeom>
          <a:solidFill>
            <a:schemeClr val="bg1"/>
          </a:solidFill>
          <a:ln w="28575" cap="flat">
            <a:solidFill>
              <a:srgbClr val="002060"/>
            </a:solidFill>
            <a:prstDash val="solid"/>
            <a:miter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0" name="Graphic 109" descr="Upward trend outline">
            <a:extLst>
              <a:ext uri="{FF2B5EF4-FFF2-40B4-BE49-F238E27FC236}">
                <a16:creationId xmlns:a16="http://schemas.microsoft.com/office/drawing/2014/main" id="{988BFF6A-D2A6-44DD-B1FA-F3F983B5FB7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45325" y="5679144"/>
            <a:ext cx="296582" cy="296582"/>
          </a:xfrm>
          <a:prstGeom prst="rect">
            <a:avLst/>
          </a:prstGeom>
        </p:spPr>
      </p:pic>
      <p:sp>
        <p:nvSpPr>
          <p:cNvPr id="53" name="Oval 52">
            <a:extLst>
              <a:ext uri="{FF2B5EF4-FFF2-40B4-BE49-F238E27FC236}">
                <a16:creationId xmlns:a16="http://schemas.microsoft.com/office/drawing/2014/main" id="{E8BC3766-4A40-4704-98B3-1ADE69341ACD}"/>
              </a:ext>
            </a:extLst>
          </p:cNvPr>
          <p:cNvSpPr/>
          <p:nvPr/>
        </p:nvSpPr>
        <p:spPr>
          <a:xfrm>
            <a:off x="3427561" y="1700052"/>
            <a:ext cx="5129361" cy="5078573"/>
          </a:xfrm>
          <a:prstGeom prst="ellipse">
            <a:avLst/>
          </a:prstGeom>
          <a:noFill/>
          <a:ln w="381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EBD76A1-4B8D-4DB7-A884-6CC8F869A6EA}"/>
              </a:ext>
            </a:extLst>
          </p:cNvPr>
          <p:cNvSpPr txBox="1"/>
          <p:nvPr/>
        </p:nvSpPr>
        <p:spPr>
          <a:xfrm>
            <a:off x="5427606" y="1494003"/>
            <a:ext cx="141134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يدافع عن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EB0CC41-9282-436D-92C7-EBE414A33C2D}"/>
              </a:ext>
            </a:extLst>
          </p:cNvPr>
          <p:cNvCxnSpPr>
            <a:cxnSpLocks/>
          </p:cNvCxnSpPr>
          <p:nvPr/>
        </p:nvCxnSpPr>
        <p:spPr>
          <a:xfrm flipH="1">
            <a:off x="3270930" y="3155023"/>
            <a:ext cx="662012" cy="7031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218E6E3-FF9C-437C-9653-08B847235AE5}"/>
              </a:ext>
            </a:extLst>
          </p:cNvPr>
          <p:cNvCxnSpPr/>
          <p:nvPr/>
        </p:nvCxnSpPr>
        <p:spPr>
          <a:xfrm>
            <a:off x="3696352" y="3152529"/>
            <a:ext cx="204123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3BB0CC3B-717D-4B02-BCF4-074BE6ED9686}"/>
              </a:ext>
            </a:extLst>
          </p:cNvPr>
          <p:cNvCxnSpPr>
            <a:cxnSpLocks/>
          </p:cNvCxnSpPr>
          <p:nvPr/>
        </p:nvCxnSpPr>
        <p:spPr>
          <a:xfrm flipH="1">
            <a:off x="8148425" y="3545114"/>
            <a:ext cx="985641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EC35959-7626-454C-ADF9-3AC544235D69}"/>
              </a:ext>
            </a:extLst>
          </p:cNvPr>
          <p:cNvCxnSpPr/>
          <p:nvPr/>
        </p:nvCxnSpPr>
        <p:spPr>
          <a:xfrm>
            <a:off x="8273965" y="3539179"/>
            <a:ext cx="204123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78CD4A14-A7C6-4E26-9B2A-C730C29285D2}"/>
              </a:ext>
            </a:extLst>
          </p:cNvPr>
          <p:cNvSpPr/>
          <p:nvPr/>
        </p:nvSpPr>
        <p:spPr>
          <a:xfrm>
            <a:off x="1053492" y="5326727"/>
            <a:ext cx="2079278" cy="7972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062BE379-2636-4B6B-B1F6-F973AAC839DB}"/>
              </a:ext>
            </a:extLst>
          </p:cNvPr>
          <p:cNvSpPr txBox="1"/>
          <p:nvPr/>
        </p:nvSpPr>
        <p:spPr>
          <a:xfrm>
            <a:off x="1149504" y="5326726"/>
            <a:ext cx="19190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شاشة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في الوقت الحالى</a:t>
            </a:r>
          </a:p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يقيس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نتائج</a:t>
            </a:r>
          </a:p>
          <a:p>
            <a:pPr marL="0" marR="0" lvl="0" indent="0" algn="l" defTabSz="91437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1B900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تعلم كيف تتحسن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6DCDA8BD-5E01-4195-A9B8-304702CC9641}"/>
              </a:ext>
            </a:extLst>
          </p:cNvPr>
          <p:cNvSpPr/>
          <p:nvPr/>
        </p:nvSpPr>
        <p:spPr>
          <a:xfrm>
            <a:off x="8870294" y="3162055"/>
            <a:ext cx="2017173" cy="22575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راتيجيات مصممة ومستدامة تعالج حواجز جانب العرض والطلب وتكون بمثابة منصة للرعاية الصحية الأولية المتكاملة على مدى الحياة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ACB278A0-3099-4FE6-8A97-0B8CAAF3393F}"/>
              </a:ext>
            </a:extLst>
          </p:cNvPr>
          <p:cNvSpPr txBox="1"/>
          <p:nvPr/>
        </p:nvSpPr>
        <p:spPr>
          <a:xfrm>
            <a:off x="6412992" y="2917450"/>
            <a:ext cx="10371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راتيجيات المصمم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DA8ADC0A-B4A6-46B5-AE59-DC3461651AA8}"/>
              </a:ext>
            </a:extLst>
          </p:cNvPr>
          <p:cNvSpPr txBox="1"/>
          <p:nvPr/>
        </p:nvSpPr>
        <p:spPr>
          <a:xfrm>
            <a:off x="6412992" y="4627906"/>
            <a:ext cx="13696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تكامل والاستدامة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7A8D7650-92B0-47B4-A4F2-89A75260DC7A}"/>
              </a:ext>
            </a:extLst>
          </p:cNvPr>
          <p:cNvSpPr txBox="1"/>
          <p:nvPr/>
        </p:nvSpPr>
        <p:spPr>
          <a:xfrm>
            <a:off x="4458382" y="2917450"/>
            <a:ext cx="117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ستمع وافهم</a:t>
            </a:r>
          </a:p>
        </p:txBody>
      </p:sp>
      <p:sp>
        <p:nvSpPr>
          <p:cNvPr id="127" name="Oval 126">
            <a:extLst>
              <a:ext uri="{FF2B5EF4-FFF2-40B4-BE49-F238E27FC236}">
                <a16:creationId xmlns:a16="http://schemas.microsoft.com/office/drawing/2014/main" id="{32EDBDDB-0477-49CF-BBEC-06814EFA0B58}"/>
              </a:ext>
            </a:extLst>
          </p:cNvPr>
          <p:cNvSpPr/>
          <p:nvPr/>
        </p:nvSpPr>
        <p:spPr>
          <a:xfrm>
            <a:off x="5402955" y="3640807"/>
            <a:ext cx="1197303" cy="1197304"/>
          </a:xfrm>
          <a:prstGeom prst="ellipse">
            <a:avLst/>
          </a:prstGeom>
          <a:solidFill>
            <a:srgbClr val="00206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10177ED-3359-4C6C-AFF6-EBFE5362BDB3}"/>
              </a:ext>
            </a:extLst>
          </p:cNvPr>
          <p:cNvSpPr txBox="1"/>
          <p:nvPr/>
        </p:nvSpPr>
        <p:spPr>
          <a:xfrm>
            <a:off x="5431686" y="3849797"/>
            <a:ext cx="115915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لمجتمعات الخالية من الجرعة والمفقودة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94C99532-F6DC-4FC4-AC18-6E4FE17B9B1B}"/>
              </a:ext>
            </a:extLst>
          </p:cNvPr>
          <p:cNvSpPr txBox="1"/>
          <p:nvPr/>
        </p:nvSpPr>
        <p:spPr>
          <a:xfrm>
            <a:off x="4458382" y="4627906"/>
            <a:ext cx="11742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ابحث و صِف</a:t>
            </a:r>
          </a:p>
        </p:txBody>
      </p:sp>
      <p:sp>
        <p:nvSpPr>
          <p:cNvPr id="64" name="Title 1">
            <a:extLst>
              <a:ext uri="{FF2B5EF4-FFF2-40B4-BE49-F238E27FC236}">
                <a16:creationId xmlns:a16="http://schemas.microsoft.com/office/drawing/2014/main" id="{85AD32D2-F798-4441-9075-7C69805A781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RMMA (التحديد ، والوصول ، والقياس ، والمراقبة ، والتأييد):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ستخدام استراتيجية الجرعة الصفرية لتعزيز الرعاية الصحية الأولية عبر مسار الحياة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3049626-D704-41F4-8340-9D403444CE79}"/>
              </a:ext>
            </a:extLst>
          </p:cNvPr>
          <p:cNvCxnSpPr>
            <a:cxnSpLocks/>
          </p:cNvCxnSpPr>
          <p:nvPr/>
        </p:nvCxnSpPr>
        <p:spPr>
          <a:xfrm flipH="1">
            <a:off x="3117250" y="5832425"/>
            <a:ext cx="1121760" cy="7031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41E23005-B03D-4037-9BC3-04E5B4714102}"/>
              </a:ext>
            </a:extLst>
          </p:cNvPr>
          <p:cNvCxnSpPr/>
          <p:nvPr/>
        </p:nvCxnSpPr>
        <p:spPr>
          <a:xfrm>
            <a:off x="3998675" y="5829931"/>
            <a:ext cx="272401" cy="0"/>
          </a:xfrm>
          <a:prstGeom prst="line">
            <a:avLst/>
          </a:prstGeom>
          <a:ln w="381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2CA10B6-0A92-408B-8269-10CC723AD7BA}"/>
              </a:ext>
            </a:extLst>
          </p:cNvPr>
          <p:cNvSpPr txBox="1"/>
          <p:nvPr/>
        </p:nvSpPr>
        <p:spPr>
          <a:xfrm>
            <a:off x="0" y="0"/>
            <a:ext cx="132236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endParaRPr lang="en-US" dirty="0"/>
          </a:p>
        </p:txBody>
      </p:sp>
      <p:sp>
        <p:nvSpPr>
          <p:cNvPr id="100010001" name="ODT_ATTR_LBL_SHAPE">
            <a:extLst>
              <a:ext uri="{FF2B5EF4-FFF2-40B4-BE49-F238E27FC236}">
                <a16:creationId xmlns:a16="http://schemas.microsoft.com/office/drawing/2014/main" id="{ADCB8724-23CD-4EE8-B5B5-3CB2DDF8932E}"/>
              </a:ext>
            </a:extLst>
          </p:cNvPr>
          <p:cNvSpPr txBox="1"/>
          <p:nvPr/>
        </p:nvSpPr>
        <p:spPr>
          <a:xfrm>
            <a:off x="1508632" y="0"/>
            <a:ext cx="3491368" cy="246221"/>
          </a:xfrm>
          <a:prstGeom prst="rect">
            <a:avLst/>
          </a:prstGeom>
          <a:solidFill>
            <a:srgbClr val="FAFAFA"/>
          </a:solidFill>
        </p:spPr>
        <p:txBody>
          <a:bodyPr wrap="none" lIns="288000">
            <a:spAutoFit/>
          </a:bodyPr>
          <a:lstStyle/>
          <a:p>
            <a:pPr algn="r"/>
            <a:r>
              <a:rPr lang="en-US" sz="1000" dirty="0">
                <a:solidFill>
                  <a:srgbClr val="0F2B46"/>
                </a:solidFill>
                <a:effectLst/>
                <a:latin typeface="Roboto" panose="02000000000000000000" pitchFamily="2" charset="0"/>
              </a:rPr>
              <a:t>مترجم من الإنجليزية إلى العربية - </a:t>
            </a:r>
            <a:r>
              <a:rPr lang="en-US" sz="1000" u="sng" dirty="0">
                <a:solidFill>
                  <a:srgbClr val="0F2B46"/>
                </a:solidFill>
                <a:effectLst/>
                <a:latin typeface="Roboto" panose="02000000000000000000" pitchFamily="2" charset="0"/>
                <a:hlinkClick r:id="rId12" tooltip="Doc Translator - www.onlinedoctranslator.com"/>
              </a:rPr>
              <a:t>www.onlinedoctranslator.com</a:t>
            </a:r>
            <a:endParaRPr lang="en-US" sz="1000" dirty="0"/>
          </a:p>
        </p:txBody>
      </p:sp>
      <p:pic>
        <p:nvPicPr>
          <p:cNvPr id="1000100002" name="ODT_ATTR_LBL_LOGO">
            <a:extLst>
              <a:ext uri="{FF2B5EF4-FFF2-40B4-BE49-F238E27FC236}">
                <a16:creationId xmlns:a16="http://schemas.microsoft.com/office/drawing/2014/main" id="{B066AC4A-9A1C-4C10-800A-DAF9F2764385}"/>
              </a:ext>
            </a:extLst>
          </p:cNvPr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000"/>
            <a:ext cx="316230" cy="17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7197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38C0AD-1AD0-F641-BAFA-ACAE57FAA4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 rtl="1"/>
            <a:fld id="{733122C9-A0B9-462F-8757-0847AD287B63}" type="slidenum">
              <a:rPr lang="en-GB" smtClean="0">
                <a:solidFill>
                  <a:srgbClr val="343434"/>
                </a:solidFill>
              </a:rPr>
              <a:pPr algn="r" rtl="1"/>
              <a:t>2</a:t>
            </a:fld>
            <a:endParaRPr lang="en-GB" dirty="0">
              <a:solidFill>
                <a:srgbClr val="343434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E6BC934-818F-42F8-AA50-F3B9966E28BF}"/>
              </a:ext>
            </a:extLst>
          </p:cNvPr>
          <p:cNvSpPr txBox="1">
            <a:spLocks/>
          </p:cNvSpPr>
          <p:nvPr/>
        </p:nvSpPr>
        <p:spPr bwMode="gray">
          <a:xfrm>
            <a:off x="1246717" y="38282"/>
            <a:ext cx="9793816" cy="103663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377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تعريفات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90C7CC7-505D-494B-9CC7-AD560DA5A012}"/>
              </a:ext>
            </a:extLst>
          </p:cNvPr>
          <p:cNvSpPr txBox="1">
            <a:spLocks/>
          </p:cNvSpPr>
          <p:nvPr/>
        </p:nvSpPr>
        <p:spPr bwMode="gray">
          <a:xfrm>
            <a:off x="1246717" y="1620712"/>
            <a:ext cx="10366164" cy="4189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3992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3983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srgbClr val="CE0F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أطفال بدون جرعة</a:t>
            </a:r>
          </a:p>
          <a:p>
            <a:pPr marL="666892" lvl="1" indent="-342900" algn="r" rtl="1">
              <a:spcBef>
                <a:spcPts val="600"/>
              </a:spcBef>
              <a:spcAft>
                <a:spcPts val="600"/>
              </a:spcAft>
              <a:buClrTx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الأطفال الذين لم يتلقوا أي لقاح روتيني</a:t>
            </a:r>
          </a:p>
          <a:p>
            <a:pPr marL="666892" lvl="1" indent="-342900" algn="r" rtl="1">
              <a:spcBef>
                <a:spcPts val="600"/>
              </a:spcBef>
              <a:spcAft>
                <a:spcPts val="600"/>
              </a:spcAft>
              <a:buClrTx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مؤشر للرصد على المستوى العالمي / الوطني: عدم وجود DTP1</a:t>
            </a:r>
          </a:p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dirty="0">
              <a:solidFill>
                <a:srgbClr val="005CB9"/>
              </a:solidFill>
              <a:latin typeface="Arial"/>
            </a:endParaRPr>
          </a:p>
          <a:p>
            <a:pPr marL="342900" indent="-342900" algn="r" rt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srgbClr val="CE0F6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مجتمعات الجرعة الصفرية</a:t>
            </a:r>
          </a:p>
          <a:p>
            <a:pPr marL="666892" lvl="1" indent="-342900" algn="r" rtl="1"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rgbClr val="005CB9"/>
                </a:solidFill>
                <a:latin typeface="Arial"/>
              </a:rPr>
              <a:t>ج </a:t>
            </a:r>
            <a:r>
              <a:rPr kumimoji="0" lang="en-US" sz="2400" i="0" u="none" strike="noStrike" kern="1200" cap="none" spc="0" normalizeH="0" baseline="0" noProof="0" dirty="0" err="1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المجتمعات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مع</a:t>
            </a: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نسبة عالية من الأطفال غير الملقحين الذين يتشاركون نفس الخصائص الاجتماعية والاقتصادية أو الجغرافية</a:t>
            </a:r>
          </a:p>
          <a:p>
            <a:pPr marL="666892" lvl="1" indent="-342900" algn="r" rtl="1">
              <a:spcBef>
                <a:spcPts val="600"/>
              </a:spcBef>
              <a:spcAft>
                <a:spcPts val="600"/>
              </a:spcAft>
            </a:pPr>
            <a:r>
              <a:rPr lang="en-US" sz="2400" dirty="0">
                <a:solidFill>
                  <a:srgbClr val="005CB9"/>
                </a:solidFill>
                <a:latin typeface="Arial"/>
              </a:rPr>
              <a:t>على غرار المجتمعات المفقودة أو المجتمعات المهمشة أو السكان المهملين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133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7527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B8DA9-00EC-405A-A3B9-E05A1509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/>
            <a: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RMMA (</a:t>
            </a:r>
            <a:r>
              <a:rPr lang="en-US" b="1" dirty="0" err="1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لتحديد</a:t>
            </a:r>
            <a: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):</a:t>
            </a:r>
            <a:r>
              <a:rPr lang="ar-SA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اين و إيجاد الأدلة)</a:t>
            </a:r>
            <a:b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ar-YE" dirty="0"/>
          </a:p>
        </p:txBody>
      </p:sp>
    </p:spTree>
    <p:extLst>
      <p:ext uri="{BB962C8B-B14F-4D97-AF65-F5344CB8AC3E}">
        <p14:creationId xmlns:p14="http://schemas.microsoft.com/office/powerpoint/2010/main" val="39389022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D66FE67-47B0-4F4F-8647-FE8C37E65EEE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44" y="661552"/>
            <a:ext cx="11242312" cy="5908697"/>
          </a:xfrm>
          <a:prstGeom prst="rect">
            <a:avLst/>
          </a:prstGeom>
          <a:noFill/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BC58320-D131-4DAE-8E14-45A55526A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538124"/>
          </a:xfrm>
        </p:spPr>
        <p:txBody>
          <a:bodyPr>
            <a:normAutofit fontScale="90000"/>
          </a:bodyPr>
          <a:lstStyle/>
          <a:p>
            <a:r>
              <a:rPr lang="ar-SA" dirty="0"/>
              <a:t>مثال من بيانات 2019</a:t>
            </a:r>
            <a:endParaRPr lang="ar-YE" dirty="0"/>
          </a:p>
        </p:txBody>
      </p:sp>
    </p:spTree>
    <p:extLst>
      <p:ext uri="{BB962C8B-B14F-4D97-AF65-F5344CB8AC3E}">
        <p14:creationId xmlns:p14="http://schemas.microsoft.com/office/powerpoint/2010/main" val="13838133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218AD21-C763-4230-80D9-A593E6AF8E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9039" y="395888"/>
            <a:ext cx="9953421" cy="6177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6225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7686C47-0638-47B8-9931-734C4D9004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46" y="1433067"/>
            <a:ext cx="15104402" cy="3991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7395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210E14-6355-4A8C-9023-BFF773AA0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000" y="773122"/>
            <a:ext cx="10089843" cy="6650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876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B8DA9-00EC-405A-A3B9-E05A1509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r" rtl="1"/>
            <a: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RMMA (</a:t>
            </a:r>
            <a:r>
              <a:rPr lang="en-US" b="1" dirty="0" err="1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لتحديد</a:t>
            </a:r>
            <a: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):</a:t>
            </a:r>
            <a:r>
              <a:rPr lang="ar-SA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كيف او لماذا)</a:t>
            </a:r>
            <a:br>
              <a:rPr lang="en-US" b="1" dirty="0">
                <a:solidFill>
                  <a:srgbClr val="005CB9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endParaRPr lang="ar-YE" dirty="0"/>
          </a:p>
        </p:txBody>
      </p:sp>
    </p:spTree>
    <p:extLst>
      <p:ext uri="{BB962C8B-B14F-4D97-AF65-F5344CB8AC3E}">
        <p14:creationId xmlns:p14="http://schemas.microsoft.com/office/powerpoint/2010/main" val="5978847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CEC77952-94C6-47E6-AF92-8261388F95E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-335280" y="56653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0488B0D-6B49-48CE-9804-BE5E6907C337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5599685" y="708882"/>
          <a:ext cx="3403600" cy="2862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3578F38-2BEE-4B3C-9738-1D503E0E2692}"/>
              </a:ext>
            </a:extLst>
          </p:cNvPr>
          <p:cNvSpPr txBox="1"/>
          <p:nvPr/>
        </p:nvSpPr>
        <p:spPr>
          <a:xfrm>
            <a:off x="629920" y="162560"/>
            <a:ext cx="2895600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ar-SA" dirty="0"/>
              <a:t>بيانات المستهدف</a:t>
            </a:r>
            <a:endParaRPr lang="ar-Y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E61926-7943-4490-A570-4D4599905265}"/>
              </a:ext>
            </a:extLst>
          </p:cNvPr>
          <p:cNvSpPr txBox="1"/>
          <p:nvPr/>
        </p:nvSpPr>
        <p:spPr>
          <a:xfrm>
            <a:off x="5661730" y="62551"/>
            <a:ext cx="4572000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ar-SA" dirty="0"/>
              <a:t>اكتمال التقارير الشهرية  على مستوى المرفق و النشاط يحوي جرعة1 خماسي</a:t>
            </a:r>
            <a:endParaRPr lang="ar-YE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03D2D2C-3F81-4826-B1AF-69F04887611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667818" y="1938131"/>
          <a:ext cx="7171531" cy="41082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6C32C5B-7BCF-4120-A522-E676C6CE2893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-459105" y="3548271"/>
          <a:ext cx="4819650" cy="2876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3296882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CEC77952-94C6-47E6-AF92-8261388F95E2}"/>
              </a:ext>
            </a:extLst>
          </p:cNvPr>
          <p:cNvGraphicFramePr>
            <a:graphicFrameLocks/>
          </p:cNvGraphicFramePr>
          <p:nvPr/>
        </p:nvGraphicFramePr>
        <p:xfrm>
          <a:off x="-335280" y="566531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3578F38-2BEE-4B3C-9738-1D503E0E2692}"/>
              </a:ext>
            </a:extLst>
          </p:cNvPr>
          <p:cNvSpPr txBox="1"/>
          <p:nvPr/>
        </p:nvSpPr>
        <p:spPr>
          <a:xfrm>
            <a:off x="629920" y="162560"/>
            <a:ext cx="2895600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ar-SA" dirty="0"/>
              <a:t>بيانات المستهدف</a:t>
            </a:r>
            <a:endParaRPr lang="ar-YE" dirty="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7E6B7C5-7C4D-4A93-BF36-D14077BECEB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-714872" y="3431262"/>
          <a:ext cx="4951592" cy="32641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B1E714A-CA41-4732-93EA-EFC183B629A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655589" y="4191411"/>
          <a:ext cx="827929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FB2489C-BDB4-499E-A2FE-5D9BA30289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6045" y="162560"/>
            <a:ext cx="7301159" cy="359909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602E986-DB4F-4640-9301-F059A200B2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31833" y="3798248"/>
            <a:ext cx="6714823" cy="293562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9F75521-C4FB-46BC-B405-238DEBB05022}"/>
              </a:ext>
            </a:extLst>
          </p:cNvPr>
          <p:cNvSpPr/>
          <p:nvPr/>
        </p:nvSpPr>
        <p:spPr>
          <a:xfrm>
            <a:off x="359596" y="3801438"/>
            <a:ext cx="2794570" cy="2732926"/>
          </a:xfrm>
          <a:custGeom>
            <a:avLst/>
            <a:gdLst>
              <a:gd name="connsiteX0" fmla="*/ 1489752 w 2794570"/>
              <a:gd name="connsiteY0" fmla="*/ 0 h 2732926"/>
              <a:gd name="connsiteX1" fmla="*/ 1479478 w 2794570"/>
              <a:gd name="connsiteY1" fmla="*/ 1448656 h 2732926"/>
              <a:gd name="connsiteX2" fmla="*/ 0 w 2794570"/>
              <a:gd name="connsiteY2" fmla="*/ 1335641 h 2732926"/>
              <a:gd name="connsiteX3" fmla="*/ 30822 w 2794570"/>
              <a:gd name="connsiteY3" fmla="*/ 2732926 h 2732926"/>
              <a:gd name="connsiteX4" fmla="*/ 2784296 w 2794570"/>
              <a:gd name="connsiteY4" fmla="*/ 2722652 h 2732926"/>
              <a:gd name="connsiteX5" fmla="*/ 2794570 w 2794570"/>
              <a:gd name="connsiteY5" fmla="*/ 82193 h 2732926"/>
              <a:gd name="connsiteX6" fmla="*/ 1489752 w 2794570"/>
              <a:gd name="connsiteY6" fmla="*/ 0 h 2732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570" h="2732926">
                <a:moveTo>
                  <a:pt x="1489752" y="0"/>
                </a:moveTo>
                <a:cubicBezTo>
                  <a:pt x="1486327" y="482885"/>
                  <a:pt x="1482903" y="965771"/>
                  <a:pt x="1479478" y="1448656"/>
                </a:cubicBezTo>
                <a:lnTo>
                  <a:pt x="0" y="1335641"/>
                </a:lnTo>
                <a:lnTo>
                  <a:pt x="30822" y="2732926"/>
                </a:lnTo>
                <a:lnTo>
                  <a:pt x="2784296" y="2722652"/>
                </a:lnTo>
                <a:cubicBezTo>
                  <a:pt x="2787721" y="1842499"/>
                  <a:pt x="2791145" y="962346"/>
                  <a:pt x="2794570" y="82193"/>
                </a:cubicBezTo>
                <a:lnTo>
                  <a:pt x="1489752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1"/>
          </a:fontRef>
        </p:style>
        <p:txBody>
          <a:bodyPr rtlCol="1" anchor="ctr"/>
          <a:lstStyle/>
          <a:p>
            <a:pPr algn="ctr"/>
            <a:endParaRPr lang="ar-YE"/>
          </a:p>
        </p:txBody>
      </p:sp>
    </p:spTree>
    <p:extLst>
      <p:ext uri="{BB962C8B-B14F-4D97-AF65-F5344CB8AC3E}">
        <p14:creationId xmlns:p14="http://schemas.microsoft.com/office/powerpoint/2010/main" val="2355371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>
        <p:bldAsOne/>
      </p:bldGraphic>
      <p:bldP spid="22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349D92-0595-1345-99D9-4CCC8C1BC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554492" rtl="1"/>
            <a:r>
              <a:rPr lang="en-GB">
                <a:solidFill>
                  <a:srgbClr val="000000">
                    <a:tint val="75000"/>
                  </a:srgbClr>
                </a:solidFill>
              </a:rPr>
              <a:t>التحصين واللقاحات والمستحضرات البيولوجية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954858-6414-A745-B7A3-225B9C7C2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554492" rtl="1"/>
            <a:fld id="{E2E31AFC-DF42-41A5-B57C-06A83BBA6616}" type="slidenum">
              <a:rPr lang="en-GB">
                <a:solidFill>
                  <a:srgbClr val="000000">
                    <a:tint val="75000"/>
                  </a:srgbClr>
                </a:solidFill>
              </a:rPr>
              <a:pPr algn="r" defTabSz="554492" rtl="1"/>
              <a:t>28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A70153E-4F87-4C44-924B-B6A3EA7EFA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25" y="537197"/>
            <a:ext cx="10866115" cy="1107996"/>
          </a:xfrm>
        </p:spPr>
        <p:txBody>
          <a:bodyPr>
            <a:normAutofit/>
          </a:bodyPr>
          <a:lstStyle/>
          <a:p>
            <a:pPr algn="r" rtl="1"/>
            <a:r>
              <a:rPr lang="en-US" sz="36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ماذا التركيز على الأطفال دون جرعة واحدة </a:t>
            </a:r>
            <a:r>
              <a:rPr lang="en-US" sz="3600" dirty="0" err="1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والمجتمعات</a:t>
            </a:r>
            <a:r>
              <a:rPr lang="en-US" sz="36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ar-SA" sz="36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المنسية او محرومة</a:t>
            </a:r>
            <a:r>
              <a:rPr lang="en-US" sz="36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؟</a:t>
            </a:r>
            <a:endParaRPr lang="en-GB" sz="3600" dirty="0">
              <a:solidFill>
                <a:srgbClr val="0087C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8A43D6B-EA0D-46AA-8518-31D12E7A725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273" y="1719313"/>
            <a:ext cx="9241455" cy="449666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51DEEE3-843B-4B60-9F77-F63883C12BF7}"/>
              </a:ext>
            </a:extLst>
          </p:cNvPr>
          <p:cNvSpPr txBox="1"/>
          <p:nvPr/>
        </p:nvSpPr>
        <p:spPr>
          <a:xfrm>
            <a:off x="4635062" y="1513490"/>
            <a:ext cx="6321972" cy="4702487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F5A6C0-A96A-49CC-A977-D006A10D2F51}"/>
              </a:ext>
            </a:extLst>
          </p:cNvPr>
          <p:cNvSpPr txBox="1"/>
          <p:nvPr/>
        </p:nvSpPr>
        <p:spPr>
          <a:xfrm>
            <a:off x="1605516" y="3864733"/>
            <a:ext cx="2789240" cy="267765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ar-SA" sz="2400" dirty="0"/>
              <a:t>المساوة</a:t>
            </a:r>
          </a:p>
          <a:p>
            <a:pPr algn="ctr"/>
            <a:r>
              <a:rPr lang="ar-SA" sz="2400" dirty="0"/>
              <a:t> في الاغلب يكون الأطفال الغير مطعمين في المناطق المحرومة اما بسبب البعد او مهمشين داخل المدن او اضطهاد يحرمهم من المطالبة بخدمات</a:t>
            </a:r>
          </a:p>
        </p:txBody>
      </p:sp>
    </p:spTree>
    <p:extLst>
      <p:ext uri="{BB962C8B-B14F-4D97-AF65-F5344CB8AC3E}">
        <p14:creationId xmlns:p14="http://schemas.microsoft.com/office/powerpoint/2010/main" val="377250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/>
        </p:nvSpPr>
        <p:spPr>
          <a:xfrm>
            <a:off x="343708" y="1589359"/>
            <a:ext cx="5691840" cy="48139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تكلفة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مرتفعة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للوصول إلى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ناس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في هذه المناطق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lvl="0" algn="r" rtl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defRPr/>
            </a:pPr>
            <a:r>
              <a:rPr lang="ar-SA" sz="2000" dirty="0">
                <a:ea typeface="Open Sans Light" panose="020B0306030504020204" pitchFamily="34" charset="0"/>
                <a:cs typeface="Open Sans Light" panose="020B0306030504020204" pitchFamily="34" charset="0"/>
              </a:rPr>
              <a:t> قيود او عائق في توظيف عمال صحيين من هذه المجتمعات او مصاعب لان يستمر العاملون في تقديم الخدمة بمناطقهم بسبب كلفة المعيشة او صعوبة الانداماج و التكيف مع المنطقة.</a:t>
            </a:r>
            <a:endParaRPr lang="en-US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تعد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المسافات الطويلة تحديًا إضافيًا لسلسلة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تبريد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كلفة ل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أنظم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الإمداد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ممتد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بالفعل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يتمتع الناس بسلطة اجتماعية وسياسية محدودة ، مما يحد من الوصول إلى المؤسسات والخدمات الصحية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بيانات عن السكان غير كاملة أو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غير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ستغل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/ ليس معلوما لدى الحكومة ان هناك تجمعات نشأت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2097CA-C064-A743-80CC-94BE26AD75E9}"/>
              </a:ext>
            </a:extLst>
          </p:cNvPr>
          <p:cNvSpPr/>
          <p:nvPr/>
        </p:nvSpPr>
        <p:spPr>
          <a:xfrm>
            <a:off x="262223" y="316168"/>
            <a:ext cx="624830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4000" b="1" dirty="0">
                <a:solidFill>
                  <a:srgbClr val="0087C8"/>
                </a:solidFill>
                <a:ea typeface="Open Sans Light" panose="020B0306030504020204" pitchFamily="34" charset="0"/>
                <a:cs typeface="Calibri" panose="020F0502020204030204" pitchFamily="34" charset="0"/>
              </a:rPr>
              <a:t>المناطق النائية</a:t>
            </a:r>
            <a:endParaRPr kumimoji="0" lang="en-US" sz="4000" b="1" i="0" u="none" strike="noStrike" kern="1200" cap="none" normalizeH="0" baseline="0" noProof="0" dirty="0">
              <a:ln>
                <a:noFill/>
              </a:ln>
              <a:solidFill>
                <a:srgbClr val="0087C8"/>
              </a:solidFill>
              <a:effectLst/>
              <a:uLnTx/>
              <a:uFillTx/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التحديات الرئيسية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1DE7D8-DD73-8D4D-B336-ABA6EAA53BFF}"/>
              </a:ext>
            </a:extLst>
          </p:cNvPr>
          <p:cNvCxnSpPr>
            <a:cxnSpLocks/>
          </p:cNvCxnSpPr>
          <p:nvPr/>
        </p:nvCxnSpPr>
        <p:spPr>
          <a:xfrm>
            <a:off x="343708" y="1589358"/>
            <a:ext cx="616682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041" y="-8467"/>
            <a:ext cx="5306605" cy="686646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71A7C33-4DC5-4616-97AA-1D4F21B2C06D}"/>
              </a:ext>
            </a:extLst>
          </p:cNvPr>
          <p:cNvSpPr txBox="1"/>
          <p:nvPr/>
        </p:nvSpPr>
        <p:spPr>
          <a:xfrm>
            <a:off x="343708" y="6403332"/>
            <a:ext cx="6166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en-US" sz="1200"/>
              <a:t>المرجع: تحصين المجموعة المرجعية للإنصاف:</a:t>
            </a:r>
            <a:r>
              <a:rPr lang="en-US" sz="1200">
                <a:hlinkClick r:id="rId4"/>
              </a:rPr>
              <a:t>https://sites.google.com/view/erg4immunisation/</a:t>
            </a:r>
            <a:r>
              <a:rPr lang="en-US" sz="12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22809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838C0AD-1AD0-F641-BAFA-ACAE57FAA4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algn="r" rtl="1"/>
            <a:fld id="{733122C9-A0B9-462F-8757-0847AD287B63}" type="slidenum">
              <a:rPr lang="en-GB" smtClean="0">
                <a:solidFill>
                  <a:srgbClr val="343434"/>
                </a:solidFill>
              </a:rPr>
              <a:pPr algn="r" rtl="1"/>
              <a:t>3</a:t>
            </a:fld>
            <a:endParaRPr lang="en-GB" dirty="0">
              <a:solidFill>
                <a:srgbClr val="343434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E6BC934-818F-42F8-AA50-F3B9966E28BF}"/>
              </a:ext>
            </a:extLst>
          </p:cNvPr>
          <p:cNvSpPr txBox="1">
            <a:spLocks/>
          </p:cNvSpPr>
          <p:nvPr/>
        </p:nvSpPr>
        <p:spPr bwMode="gray">
          <a:xfrm>
            <a:off x="1246717" y="38283"/>
            <a:ext cx="9793816" cy="759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none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77" rtl="1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4000" b="1" dirty="0">
                <a:solidFill>
                  <a:srgbClr val="005CB9"/>
                </a:solidFill>
                <a:latin typeface="+mn-lt"/>
              </a:rPr>
              <a:t> 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90C7CC7-505D-494B-9CC7-AD560DA5A012}"/>
              </a:ext>
            </a:extLst>
          </p:cNvPr>
          <p:cNvSpPr txBox="1">
            <a:spLocks/>
          </p:cNvSpPr>
          <p:nvPr/>
        </p:nvSpPr>
        <p:spPr bwMode="gray">
          <a:xfrm>
            <a:off x="1246717" y="1620712"/>
            <a:ext cx="10366164" cy="4189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buFont typeface="Arial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23992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3987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3987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3983" indent="-179996" algn="l" defTabSz="914377" rtl="0" eaLnBrk="1" latinLnBrk="0" hangingPunct="1">
              <a:lnSpc>
                <a:spcPct val="100000"/>
              </a:lnSpc>
              <a:spcBef>
                <a:spcPts val="300"/>
              </a:spcBef>
              <a:buSzPct val="100000"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4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 % من الأطفال الجرعة الصفرية ( الغير مطعمين  ) هم في اقليمنا شرق البحر الأبيض المتوسط </a:t>
            </a:r>
          </a:p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4400" dirty="0">
                <a:solidFill>
                  <a:srgbClr val="005CB9"/>
                </a:solidFill>
                <a:latin typeface="Arial"/>
              </a:rPr>
              <a:t>9% من هولاء هم في اليمن </a:t>
            </a:r>
          </a:p>
          <a:p>
            <a:pPr marL="342900" marR="0" lvl="0" indent="-342900" algn="r" defTabSz="914377" rtl="1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4400" i="0" u="none" strike="noStrike" kern="1200" cap="none" spc="0" normalizeH="0" baseline="0" noProof="0" dirty="0">
                <a:ln>
                  <a:noFill/>
                </a:ln>
                <a:solidFill>
                  <a:srgbClr val="005C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أي ان</a:t>
            </a:r>
            <a:r>
              <a:rPr lang="ar-SA" sz="4400" dirty="0">
                <a:solidFill>
                  <a:srgbClr val="005CB9"/>
                </a:solidFill>
                <a:latin typeface="Arial"/>
              </a:rPr>
              <a:t>هم يشكلون </a:t>
            </a:r>
            <a:r>
              <a:rPr lang="en-US" sz="4400" dirty="0">
                <a:solidFill>
                  <a:srgbClr val="005CB9"/>
                </a:solidFill>
                <a:latin typeface="Arial"/>
              </a:rPr>
              <a:t>.2</a:t>
            </a:r>
            <a:r>
              <a:rPr lang="ar-SA" sz="4400" dirty="0">
                <a:solidFill>
                  <a:srgbClr val="005CB9"/>
                </a:solidFill>
                <a:latin typeface="Arial"/>
              </a:rPr>
              <a:t>1% من أطفال العالم الغير مطعمين</a:t>
            </a:r>
            <a:endParaRPr kumimoji="0" lang="en-US" sz="4400" i="0" u="none" strike="noStrike" kern="1200" cap="none" spc="0" normalizeH="0" baseline="0" noProof="0" dirty="0">
              <a:ln>
                <a:noFill/>
              </a:ln>
              <a:solidFill>
                <a:srgbClr val="005C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4215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/>
        </p:nvSpPr>
        <p:spPr>
          <a:xfrm>
            <a:off x="343708" y="1589359"/>
            <a:ext cx="6471762" cy="48139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المناطق الصحراوية  البعيدة ، او الجبلية وعرة تتطلب تجهيزات خاصة اعلى مما يتوفر في الميزانيات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ea typeface="Open Sans Light" panose="020B0306030504020204" pitchFamily="34" charset="0"/>
                <a:cs typeface="Open Sans Light" panose="020B0306030504020204" pitchFamily="34" charset="0"/>
              </a:rPr>
              <a:t>مناطق الصراعات و تدني الامن صعبة على مكوث العامل الصحي في منطقة التكليف ، ثقافة ما ينظر فيها الى الكادر الصحي  بقلة تقدير او .</a:t>
            </a:r>
            <a:endParaRPr lang="en-US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 rtl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defRPr/>
            </a:pPr>
            <a:r>
              <a:rPr lang="ar-SA" sz="2000" dirty="0">
                <a:ea typeface="Open Sans Light" panose="020B0306030504020204" pitchFamily="34" charset="0"/>
                <a:cs typeface="Open Sans Light" panose="020B0306030504020204" pitchFamily="34" charset="0"/>
              </a:rPr>
              <a:t>سكان جزيرة سقطرة و توقف الطيران او الرحلات البحرية لبعض الأشهر </a:t>
            </a:r>
            <a:endParaRPr lang="en-US" sz="20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ينظر الى مناطق مخيمات النزوح كواقع مؤقت لن يطول و بالتالي لا تشمل خطط الحكومة او المجالس المحلية توفير خدمات / او لا يتم التأكد دوريا من متطلباته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بيانات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عن السكان غير كاملة أو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غير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ستغل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/ ليس معلوما لدى الحكومة ان هناك تجمعات نشأت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2097CA-C064-A743-80CC-94BE26AD75E9}"/>
              </a:ext>
            </a:extLst>
          </p:cNvPr>
          <p:cNvSpPr/>
          <p:nvPr/>
        </p:nvSpPr>
        <p:spPr>
          <a:xfrm>
            <a:off x="262223" y="316168"/>
            <a:ext cx="624830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4000" b="1" dirty="0">
                <a:solidFill>
                  <a:srgbClr val="0087C8"/>
                </a:solidFill>
                <a:ea typeface="Open Sans Light" panose="020B0306030504020204" pitchFamily="34" charset="0"/>
                <a:cs typeface="Calibri" panose="020F0502020204030204" pitchFamily="34" charset="0"/>
              </a:rPr>
              <a:t>المناطق النائية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2800" b="1" i="0" u="none" strike="noStrike" kern="1200" cap="none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امثلة في وضع اليمن</a:t>
            </a:r>
            <a:endParaRPr kumimoji="0" lang="en-US" sz="2800" b="1" i="0" u="none" strike="noStrike" kern="1200" cap="none" normalizeH="0" baseline="0" noProof="0" dirty="0">
              <a:ln>
                <a:noFill/>
              </a:ln>
              <a:solidFill>
                <a:srgbClr val="0087C8"/>
              </a:solidFill>
              <a:effectLst/>
              <a:uLnTx/>
              <a:uFillTx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1DE7D8-DD73-8D4D-B336-ABA6EAA53BFF}"/>
              </a:ext>
            </a:extLst>
          </p:cNvPr>
          <p:cNvCxnSpPr>
            <a:cxnSpLocks/>
          </p:cNvCxnSpPr>
          <p:nvPr/>
        </p:nvCxnSpPr>
        <p:spPr>
          <a:xfrm>
            <a:off x="343708" y="1589358"/>
            <a:ext cx="616682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0041" y="-8467"/>
            <a:ext cx="5306605" cy="6866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32688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42097CA-C064-A743-80CC-94BE26AD75E9}"/>
              </a:ext>
            </a:extLst>
          </p:cNvPr>
          <p:cNvSpPr/>
          <p:nvPr/>
        </p:nvSpPr>
        <p:spPr>
          <a:xfrm>
            <a:off x="5510879" y="316168"/>
            <a:ext cx="6248305" cy="11387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حضري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التحديات الرئيسية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1DE7D8-DD73-8D4D-B336-ABA6EAA53BFF}"/>
              </a:ext>
            </a:extLst>
          </p:cNvPr>
          <p:cNvCxnSpPr>
            <a:cxnSpLocks/>
          </p:cNvCxnSpPr>
          <p:nvPr/>
        </p:nvCxnSpPr>
        <p:spPr>
          <a:xfrm>
            <a:off x="5592364" y="1589358"/>
            <a:ext cx="616682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5F7B2628-4AB9-47CF-B41C-A8BD478137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02"/>
          <a:stretch/>
        </p:blipFill>
        <p:spPr>
          <a:xfrm>
            <a:off x="0" y="0"/>
            <a:ext cx="5321148" cy="69141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E3E63F3-ACF6-42A8-A207-AF7F4E08CD16}"/>
              </a:ext>
            </a:extLst>
          </p:cNvPr>
          <p:cNvSpPr txBox="1"/>
          <p:nvPr/>
        </p:nvSpPr>
        <p:spPr>
          <a:xfrm>
            <a:off x="6025180" y="6541832"/>
            <a:ext cx="6166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en-US" sz="1200" dirty="0" err="1"/>
              <a:t>المرجع</a:t>
            </a:r>
            <a:r>
              <a:rPr lang="en-US" sz="1200" dirty="0"/>
              <a:t>: </a:t>
            </a:r>
            <a:r>
              <a:rPr lang="en-US" sz="1200" dirty="0" err="1"/>
              <a:t>تحصين</a:t>
            </a:r>
            <a:r>
              <a:rPr lang="en-US" sz="1200" dirty="0"/>
              <a:t> </a:t>
            </a:r>
            <a:r>
              <a:rPr lang="en-US" sz="1200" dirty="0" err="1"/>
              <a:t>المجموعة</a:t>
            </a:r>
            <a:r>
              <a:rPr lang="en-US" sz="1200" dirty="0"/>
              <a:t> </a:t>
            </a:r>
            <a:r>
              <a:rPr lang="en-US" sz="1200" dirty="0" err="1"/>
              <a:t>المرجعية</a:t>
            </a:r>
            <a:r>
              <a:rPr lang="en-US" sz="1200" dirty="0"/>
              <a:t> </a:t>
            </a:r>
            <a:r>
              <a:rPr lang="en-US" sz="1200" dirty="0" err="1"/>
              <a:t>للإنصاف:</a:t>
            </a:r>
            <a:r>
              <a:rPr lang="en-US" sz="1200" dirty="0" err="1">
                <a:hlinkClick r:id="rId4"/>
              </a:rPr>
              <a:t>https</a:t>
            </a:r>
            <a:r>
              <a:rPr lang="en-US" sz="1200" dirty="0">
                <a:hlinkClick r:id="rId4"/>
              </a:rPr>
              <a:t>://sites.google.com/view/erg4immunisation/</a:t>
            </a:r>
            <a:r>
              <a:rPr lang="en-US" sz="1200" dirty="0"/>
              <a:t> 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0B5ACF1-B831-4059-9686-65150112528B}"/>
              </a:ext>
            </a:extLst>
          </p:cNvPr>
          <p:cNvSpPr txBox="1">
            <a:spLocks/>
          </p:cNvSpPr>
          <p:nvPr/>
        </p:nvSpPr>
        <p:spPr>
          <a:xfrm>
            <a:off x="92149" y="1454941"/>
            <a:ext cx="12099851" cy="5848627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عدم وجود بيانات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دقيقة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ومصنفة</a:t>
            </a:r>
            <a:r>
              <a:rPr kumimoji="0" lang="ar-SA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لتوسع المدن في السنوات الأخيرة ، نشؤ احياء جديدة في المدن لم يواكبه توسع في عدد المرافق </a:t>
            </a:r>
            <a:endParaRPr kumimoji="0" lang="en-US" sz="2000" b="0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التفرقة 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لاجتماعية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والتمييز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</a:t>
            </a:r>
            <a:r>
              <a:rPr kumimoji="0" lang="ar-SA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لطبقي</a:t>
            </a:r>
            <a:endParaRPr kumimoji="0" lang="en-US" sz="2000" b="0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يخشى سكان المستوطنات غير القانونية مواجهة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لسلطات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لعامة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)  </a:t>
            </a:r>
            <a:r>
              <a:rPr kumimoji="0" lang="ar-SA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بناء غير مرخص و سكان العشوائيات) حيثه انه أساسا تعارض الدولة هذا  التجمع و لا تشجع تزايد و توسع هذه الاستحداثات</a:t>
            </a:r>
            <a:endParaRPr kumimoji="0" lang="en-US" sz="2000" b="0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تصميم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خدمات التحصين يجعل الوصول إليها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غير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ممكن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ar-SA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/ مثلا انحصار الخدمات الصحية على المرافق الحكومية ، او اشتراطات إضافية للمرافق الخاصة تطلب مهارات ومواصفات غير متوفرة في الكادر  المتوفر او البنية التحتية .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ar-SA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و حصر جلسات التطعيم على واقات محددة فترة صباحية فقط ، او أيام محددة  ، لا يوجد خيارت أامام الأهالي ( كل المرافق تقدم جلسة الحصبة و السل كل يوم احد فقط )  ( لا يتم توفير كميات الامداد بحسب الجلسات و انما فقط حسب المستهدف </a:t>
            </a:r>
            <a:endParaRPr kumimoji="0" lang="en-US" sz="2000" b="0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يحد انعدام الأمن من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وصول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المجتمعات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تعدد أصحاب المصلحة وعدم وجود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شراكات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0" i="0" u="none" strike="noStrike" kern="1200" cap="none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فعالة</a:t>
            </a:r>
            <a:r>
              <a:rPr kumimoji="0" lang="en-US" sz="2000" b="0" i="0" u="none" strike="noStrike" kern="1200" cap="none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sz="2800" b="0" i="0" u="none" strike="noStrike" kern="1200" cap="none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47775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/>
        </p:nvSpPr>
        <p:spPr>
          <a:xfrm>
            <a:off x="343707" y="1589359"/>
            <a:ext cx="6547543" cy="455643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أضرار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تي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لحقت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في ال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بنية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ar-SA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تحتية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/</a:t>
            </a:r>
            <a:r>
              <a:rPr kumimoji="0" lang="ar-SA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او سلسة التبريد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فقدان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هجر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عاملين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مهر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في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جال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رعاي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صحية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قل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وصول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إلى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مناطق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بسبب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نعدام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أمن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نزوح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سكان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على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نطاق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اسع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خلق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جموعات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ن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لاجئين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صعوب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في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تتبع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إيجاد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سكان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Calibri Ligh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2097CA-C064-A743-80CC-94BE26AD75E9}"/>
              </a:ext>
            </a:extLst>
          </p:cNvPr>
          <p:cNvSpPr/>
          <p:nvPr/>
        </p:nvSpPr>
        <p:spPr>
          <a:xfrm>
            <a:off x="262223" y="316168"/>
            <a:ext cx="624830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متأثر بالنزاع</a:t>
            </a: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التحديات</a:t>
            </a:r>
            <a:r>
              <a:rPr kumimoji="0" lang="en-US" sz="2800" b="1" i="0" u="none" strike="noStrike" kern="1200" cap="none" spc="300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 </a:t>
            </a:r>
            <a:r>
              <a:rPr kumimoji="0" lang="en-US" sz="2800" b="1" i="0" u="none" strike="noStrike" kern="1200" cap="none" normalizeH="0" baseline="0" noProof="0" dirty="0">
                <a:ln>
                  <a:noFill/>
                </a:ln>
                <a:solidFill>
                  <a:srgbClr val="0087C8"/>
                </a:solidFill>
                <a:effectLst/>
                <a:uLnTx/>
                <a:uFillTx/>
                <a:ea typeface="Open Sans Light" panose="020B0306030504020204" pitchFamily="34" charset="0"/>
                <a:cs typeface="Calibri" panose="020F0502020204030204" pitchFamily="34" charset="0"/>
              </a:rPr>
              <a:t>الرئيسية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1DE7D8-DD73-8D4D-B336-ABA6EAA53BFF}"/>
              </a:ext>
            </a:extLst>
          </p:cNvPr>
          <p:cNvCxnSpPr>
            <a:cxnSpLocks/>
          </p:cNvCxnSpPr>
          <p:nvPr/>
        </p:nvCxnSpPr>
        <p:spPr>
          <a:xfrm>
            <a:off x="343708" y="1589358"/>
            <a:ext cx="616682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91251" y="0"/>
            <a:ext cx="5300749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506D5F6-B02E-45EF-8CD1-BDFE41951959}"/>
              </a:ext>
            </a:extLst>
          </p:cNvPr>
          <p:cNvSpPr txBox="1"/>
          <p:nvPr/>
        </p:nvSpPr>
        <p:spPr>
          <a:xfrm>
            <a:off x="343708" y="6403332"/>
            <a:ext cx="6166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en-US" sz="1200"/>
              <a:t>المرجع: تحصين المجموعة المرجعية للإنصاف:</a:t>
            </a:r>
            <a:r>
              <a:rPr lang="en-US" sz="1200">
                <a:hlinkClick r:id="rId4"/>
              </a:rPr>
              <a:t>https://sites.google.com/view/erg4immunisation/</a:t>
            </a:r>
            <a:r>
              <a:rPr lang="en-US" sz="12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66499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/>
        </p:nvSpPr>
        <p:spPr>
          <a:xfrm>
            <a:off x="-180753" y="1978396"/>
            <a:ext cx="11939937" cy="487960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أمهات ، عادة مقدمات الرعاية الأساسيات ، مقيَّدات بما يلي: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كانة أقل في المجتمعات وقدرة محدودة على العمل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حواجز المادية والزمنية للوصول إلى خدمات التطعيم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نقص محو الأمية الصحية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تدهور جودة الخدمات الصحية الأخرى  مثل 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IMCI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، , , </a:t>
            </a:r>
            <a:r>
              <a:rPr kumimoji="0" lang="ar-SA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تغذية ، الصحة الإنجابية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ما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قد يمنعهم من السعي للحصول على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خدمات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صحية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نعدام الملائمة : في الوضع اليمني يحبذن الأمهات اخذ مشورات الصحة الإنجابية المعتادة الدوريةمن كادر نسائي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28600" marR="0" lvl="0" indent="-22860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dirty="0"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نقص الكادر النسائي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 rt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70٪ من العاملين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صحيين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هن من الاناث 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ولكن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25٪ من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إدارة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عليا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، هم من الذكور </a:t>
            </a:r>
            <a:endParaRPr lang="en-US" sz="2000" dirty="0"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 rt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سلطة اتخاذ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القرار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2000" dirty="0" err="1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محدودة</a:t>
            </a:r>
            <a:r>
              <a:rPr lang="en-US" sz="2000" dirty="0"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ar-SA" sz="2000" dirty="0">
                <a:ea typeface="Open Sans Light" panose="020B0306030504020204" pitchFamily="34" charset="0"/>
                <a:cs typeface="Open Sans Light" panose="020B0306030504020204" pitchFamily="34" charset="0"/>
              </a:rPr>
              <a:t>مثال اكثر شيوعا  في اليمن </a:t>
            </a:r>
          </a:p>
          <a:p>
            <a:pPr algn="r" rt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ar-SA" sz="2000" dirty="0">
                <a:ea typeface="Open Sans Light" panose="020B0306030504020204" pitchFamily="34" charset="0"/>
                <a:cs typeface="Open Sans Light" panose="020B0306030504020204" pitchFamily="34" charset="0"/>
              </a:rPr>
              <a:t>دائما يحضر مدير المرفق وهو من الذكور بينما لا يقوم هو عادة بالتطعيم  </a:t>
            </a:r>
            <a:endParaRPr lang="en-US" sz="2000" dirty="0"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2097CA-C064-A743-80CC-94BE26AD75E9}"/>
              </a:ext>
            </a:extLst>
          </p:cNvPr>
          <p:cNvSpPr/>
          <p:nvPr/>
        </p:nvSpPr>
        <p:spPr>
          <a:xfrm>
            <a:off x="4253023" y="316168"/>
            <a:ext cx="75061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ar-SA" sz="4000" b="1" dirty="0">
                <a:solidFill>
                  <a:srgbClr val="0087C8"/>
                </a:solidFill>
                <a:ea typeface="Open Sans Light" panose="020B0306030504020204" pitchFamily="34" charset="0"/>
                <a:cs typeface="Calibri" panose="020F0502020204030204" pitchFamily="34" charset="0"/>
              </a:rPr>
              <a:t>التنوع الاجتماعي</a:t>
            </a:r>
            <a:endParaRPr lang="en-US" sz="4000" b="1" dirty="0">
              <a:solidFill>
                <a:srgbClr val="0087C8"/>
              </a:solidFill>
              <a:ea typeface="Open Sans Light" panose="020B0306030504020204" pitchFamily="34" charset="0"/>
              <a:cs typeface="Calibri" panose="020F0502020204030204" pitchFamily="34" charset="0"/>
            </a:endParaRPr>
          </a:p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>
                <a:solidFill>
                  <a:srgbClr val="0087C8"/>
                </a:solidFill>
                <a:ea typeface="Open Sans Light" panose="020B0306030504020204" pitchFamily="34" charset="0"/>
                <a:cs typeface="Calibri" panose="020F0502020204030204" pitchFamily="34" charset="0"/>
              </a:rPr>
              <a:t>مجتمعات الجرعة الصفرية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0087C8"/>
              </a:solidFill>
              <a:effectLst/>
              <a:uLnTx/>
              <a:uFillTx/>
              <a:ea typeface="Open Sans Light" panose="020B0306030504020204" pitchFamily="34" charset="0"/>
              <a:cs typeface="Calibri" panose="020F050202020403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81DE7D8-DD73-8D4D-B336-ABA6EAA53BFF}"/>
              </a:ext>
            </a:extLst>
          </p:cNvPr>
          <p:cNvCxnSpPr>
            <a:cxnSpLocks/>
          </p:cNvCxnSpPr>
          <p:nvPr/>
        </p:nvCxnSpPr>
        <p:spPr>
          <a:xfrm>
            <a:off x="5592364" y="1589358"/>
            <a:ext cx="616682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: Rounded Corners 13">
            <a:extLst>
              <a:ext uri="{FF2B5EF4-FFF2-40B4-BE49-F238E27FC236}">
                <a16:creationId xmlns:a16="http://schemas.microsoft.com/office/drawing/2014/main" id="{D758F305-0723-6C47-8CE3-B8376F0ED4BB}"/>
              </a:ext>
            </a:extLst>
          </p:cNvPr>
          <p:cNvSpPr>
            <a:spLocks noChangeAspect="1"/>
          </p:cNvSpPr>
          <p:nvPr/>
        </p:nvSpPr>
        <p:spPr>
          <a:xfrm>
            <a:off x="0" y="1"/>
            <a:ext cx="2658140" cy="351399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1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D76E57-9C70-49ED-A105-185EACEEBBC9}"/>
              </a:ext>
            </a:extLst>
          </p:cNvPr>
          <p:cNvSpPr txBox="1"/>
          <p:nvPr/>
        </p:nvSpPr>
        <p:spPr>
          <a:xfrm>
            <a:off x="6096000" y="6541832"/>
            <a:ext cx="6166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en-US" sz="1200"/>
              <a:t>المرجع: تحصين المجموعة المرجعية للإنصاف:</a:t>
            </a:r>
            <a:r>
              <a:rPr lang="en-US" sz="1200">
                <a:hlinkClick r:id="rId4"/>
              </a:rPr>
              <a:t>https://sites.google.com/view/erg4immunisation/</a:t>
            </a:r>
            <a:r>
              <a:rPr lang="en-US" sz="12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55185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349D92-0595-1345-99D9-4CCC8C1BC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554492" rtl="1"/>
            <a:r>
              <a:rPr lang="en-GB">
                <a:solidFill>
                  <a:srgbClr val="000000">
                    <a:tint val="75000"/>
                  </a:srgbClr>
                </a:solidFill>
              </a:rPr>
              <a:t>التحصين واللقاحات والمستحضرات البيولوجية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954858-6414-A745-B7A3-225B9C7C2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554492" rtl="1"/>
            <a:fld id="{E2E31AFC-DF42-41A5-B57C-06A83BBA6616}" type="slidenum">
              <a:rPr lang="en-GB">
                <a:solidFill>
                  <a:srgbClr val="000000">
                    <a:tint val="75000"/>
                  </a:srgbClr>
                </a:solidFill>
              </a:rPr>
              <a:pPr algn="r" defTabSz="554492" rtl="1"/>
              <a:t>34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8A43D6B-EA0D-46AA-8518-31D12E7A725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273" y="1682253"/>
            <a:ext cx="9241455" cy="4496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244507D-20BF-4506-A932-57942800B294}"/>
              </a:ext>
            </a:extLst>
          </p:cNvPr>
          <p:cNvSpPr txBox="1"/>
          <p:nvPr/>
        </p:nvSpPr>
        <p:spPr>
          <a:xfrm>
            <a:off x="7696200" y="1513490"/>
            <a:ext cx="3260834" cy="4702487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6FDE20-68F6-4D6E-8C38-0C0B4A8A4509}"/>
              </a:ext>
            </a:extLst>
          </p:cNvPr>
          <p:cNvSpPr txBox="1"/>
          <p:nvPr/>
        </p:nvSpPr>
        <p:spPr>
          <a:xfrm>
            <a:off x="1234966" y="1646944"/>
            <a:ext cx="3260834" cy="4702487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endParaRPr lang="en-US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811351A1-F0D8-4704-A480-1F2994F88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25" y="537197"/>
            <a:ext cx="10866115" cy="1107996"/>
          </a:xfrm>
        </p:spPr>
        <p:txBody>
          <a:bodyPr/>
          <a:lstStyle/>
          <a:p>
            <a:pPr algn="r" rtl="1"/>
            <a:r>
              <a:rPr lang="en-US" sz="40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ماذا التركيز على الأطفال دون جرعة واحدة والمجتمعات المفقودة؟</a:t>
            </a:r>
            <a:endParaRPr lang="en-GB" sz="4000" dirty="0">
              <a:solidFill>
                <a:srgbClr val="0087C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AC3A856-D807-4154-A171-C08D5E63872E}"/>
              </a:ext>
            </a:extLst>
          </p:cNvPr>
          <p:cNvSpPr txBox="1"/>
          <p:nvPr/>
        </p:nvSpPr>
        <p:spPr>
          <a:xfrm>
            <a:off x="4736107" y="3836919"/>
            <a:ext cx="2789240" cy="2308324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ar-SA" sz="2400" dirty="0"/>
              <a:t>انعدام خدمات الرعاية</a:t>
            </a:r>
          </a:p>
          <a:p>
            <a:pPr algn="ctr"/>
            <a:r>
              <a:rPr lang="ar-SA" sz="2400" dirty="0"/>
              <a:t> في الاغلب يكون الأطفال الغير مطعمين في المناطق المحرومة من خدمات مختلف خدمات الرعاية الصحية </a:t>
            </a:r>
          </a:p>
        </p:txBody>
      </p:sp>
    </p:spTree>
    <p:extLst>
      <p:ext uri="{BB962C8B-B14F-4D97-AF65-F5344CB8AC3E}">
        <p14:creationId xmlns:p14="http://schemas.microsoft.com/office/powerpoint/2010/main" val="70232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349D92-0595-1345-99D9-4CCC8C1BC8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 defTabSz="554492" rtl="1"/>
            <a:r>
              <a:rPr lang="en-GB">
                <a:solidFill>
                  <a:srgbClr val="000000">
                    <a:tint val="75000"/>
                  </a:srgbClr>
                </a:solidFill>
              </a:rPr>
              <a:t>التحصين واللقاحات والمستحضرات البيولوجية</a:t>
            </a:r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954858-6414-A745-B7A3-225B9C7C2A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554492" rtl="1"/>
            <a:fld id="{E2E31AFC-DF42-41A5-B57C-06A83BBA6616}" type="slidenum">
              <a:rPr lang="en-GB">
                <a:solidFill>
                  <a:srgbClr val="000000">
                    <a:tint val="75000"/>
                  </a:srgbClr>
                </a:solidFill>
              </a:rPr>
              <a:pPr algn="r" defTabSz="554492" rtl="1"/>
              <a:t>35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8A43D6B-EA0D-46AA-8518-31D12E7A725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273" y="1719313"/>
            <a:ext cx="9241455" cy="449666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87BD1D5-65C8-43DC-8024-9812B7410FB2}"/>
              </a:ext>
            </a:extLst>
          </p:cNvPr>
          <p:cNvSpPr txBox="1"/>
          <p:nvPr/>
        </p:nvSpPr>
        <p:spPr>
          <a:xfrm>
            <a:off x="1475272" y="1646944"/>
            <a:ext cx="6321972" cy="4702487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wrap="square" rtlCol="0">
            <a:spAutoFit/>
          </a:bodyPr>
          <a:lstStyle/>
          <a:p>
            <a:pPr algn="r" rtl="1"/>
            <a:endParaRPr lang="en-US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11A53A08-5822-4434-8B04-32F6C06383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025" y="537197"/>
            <a:ext cx="10866115" cy="1107996"/>
          </a:xfrm>
        </p:spPr>
        <p:txBody>
          <a:bodyPr/>
          <a:lstStyle/>
          <a:p>
            <a:pPr algn="r" rtl="1"/>
            <a:r>
              <a:rPr lang="en-US" sz="4000" dirty="0">
                <a:solidFill>
                  <a:srgbClr val="0087C8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لماذا التركيز على الأطفال دون جرعة واحدة والمجتمعات المفقودة؟</a:t>
            </a:r>
            <a:endParaRPr lang="en-GB" sz="4000" dirty="0">
              <a:solidFill>
                <a:srgbClr val="0087C8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E1AF9FC-88D7-48A9-83C5-4FF218921186}"/>
              </a:ext>
            </a:extLst>
          </p:cNvPr>
          <p:cNvSpPr txBox="1"/>
          <p:nvPr/>
        </p:nvSpPr>
        <p:spPr>
          <a:xfrm>
            <a:off x="7797244" y="3946725"/>
            <a:ext cx="2789240" cy="1938992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1">
            <a:spAutoFit/>
          </a:bodyPr>
          <a:lstStyle/>
          <a:p>
            <a:pPr algn="ctr"/>
            <a:r>
              <a:rPr lang="ar-SA" sz="2400" dirty="0"/>
              <a:t>مناطق الخطورة </a:t>
            </a:r>
          </a:p>
          <a:p>
            <a:pPr algn="ctr"/>
            <a:endParaRPr lang="ar-SA" sz="2400" dirty="0"/>
          </a:p>
          <a:p>
            <a:pPr algn="ctr"/>
            <a:r>
              <a:rPr lang="ar-SA" sz="2400" dirty="0"/>
              <a:t>هم أولئك الأطفال الأكثر عرضة لتفشي الأوبئة ، و بمناطق يتكرر بها الأوبئة  </a:t>
            </a:r>
          </a:p>
        </p:txBody>
      </p:sp>
    </p:spTree>
    <p:extLst>
      <p:ext uri="{BB962C8B-B14F-4D97-AF65-F5344CB8AC3E}">
        <p14:creationId xmlns:p14="http://schemas.microsoft.com/office/powerpoint/2010/main" val="272464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E63C27-C47A-418F-9B53-920BFB02A1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485" y="869221"/>
            <a:ext cx="9279336" cy="348557"/>
          </a:xfrm>
          <a:solidFill>
            <a:schemeClr val="accent5"/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pPr marL="0" indent="0" algn="ctr" rtl="1">
              <a:buNone/>
            </a:pPr>
            <a:r>
              <a:rPr lang="en-US" sz="18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~ 2.1 مليون طفل لم يتلقوا أي لقاح يحتوي على DTP في عام 2021 في EM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07306F-A0FA-4B96-BB7A-B7C105838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150274"/>
            <a:ext cx="8160000" cy="632974"/>
          </a:xfrm>
        </p:spPr>
        <p:txBody>
          <a:bodyPr>
            <a:normAutofit/>
          </a:bodyPr>
          <a:lstStyle/>
          <a:p>
            <a:pPr algn="r" rtl="1"/>
            <a:r>
              <a:rPr lang="en-US" sz="3200" dirty="0">
                <a:solidFill>
                  <a:srgbClr val="00B0F0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جرعة صفرية للأطفال في EMR ، 2021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17866BE2-4570-4BC7-B178-991E133DEEB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729223" y="1607276"/>
          <a:ext cx="4897918" cy="4411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F4780F56-9102-48EE-AE3A-171D9E87AEE3}"/>
              </a:ext>
            </a:extLst>
          </p:cNvPr>
          <p:cNvGraphicFramePr>
            <a:graphicFrameLocks/>
          </p:cNvGraphicFramePr>
          <p:nvPr/>
        </p:nvGraphicFramePr>
        <p:xfrm>
          <a:off x="438733" y="1588505"/>
          <a:ext cx="5657267" cy="3881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CE36F1-6E5E-4C8F-9901-DEF47566F917}"/>
              </a:ext>
            </a:extLst>
          </p:cNvPr>
          <p:cNvCxnSpPr>
            <a:cxnSpLocks/>
          </p:cNvCxnSpPr>
          <p:nvPr/>
        </p:nvCxnSpPr>
        <p:spPr>
          <a:xfrm flipV="1">
            <a:off x="4597167" y="2332653"/>
            <a:ext cx="4145617" cy="888720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3D610A-739C-4FAE-BEC8-AC1203875041}"/>
              </a:ext>
            </a:extLst>
          </p:cNvPr>
          <p:cNvCxnSpPr>
            <a:cxnSpLocks/>
          </p:cNvCxnSpPr>
          <p:nvPr/>
        </p:nvCxnSpPr>
        <p:spPr>
          <a:xfrm>
            <a:off x="4609605" y="4194867"/>
            <a:ext cx="4207824" cy="149980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FC3D9A7C-4550-4E32-BC94-02BCE71CB759}"/>
              </a:ext>
            </a:extLst>
          </p:cNvPr>
          <p:cNvSpPr txBox="1"/>
          <p:nvPr/>
        </p:nvSpPr>
        <p:spPr>
          <a:xfrm>
            <a:off x="2602139" y="6083395"/>
            <a:ext cx="118901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en-US" sz="1600" dirty="0">
                <a:solidFill>
                  <a:schemeClr val="bg1"/>
                </a:solidFill>
              </a:rPr>
              <a:t>الأطفال بدون جرعة: DTP1 الأطفال غير المحصنين</a:t>
            </a:r>
          </a:p>
          <a:p>
            <a:pPr algn="r" rtl="1"/>
            <a:r>
              <a:rPr lang="en-US" sz="1600" dirty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161084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E63C27-C47A-418F-9B53-920BFB02A18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0484" y="869221"/>
            <a:ext cx="9764527" cy="348557"/>
          </a:xfrm>
          <a:solidFill>
            <a:schemeClr val="accent5"/>
          </a:solidFill>
        </p:spPr>
        <p:txBody>
          <a:bodyPr vert="horz" wrap="square" lIns="91440" tIns="45720" rIns="91440" bIns="45720" rtlCol="0" anchor="t">
            <a:spAutoFit/>
          </a:bodyPr>
          <a:lstStyle/>
          <a:p>
            <a:pPr marL="0" indent="0" algn="ctr" rtl="1">
              <a:buNone/>
            </a:pPr>
            <a:r>
              <a:rPr lang="en-US" sz="1800" b="1" dirty="0">
                <a:solidFill>
                  <a:schemeClr val="bg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لم يتلق 3،357،096 طفلاً أي لقاح يحتوي على لقاح الحصبة في عام 2021 في EM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07306F-A0FA-4B96-BB7A-B7C105838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150274"/>
            <a:ext cx="8160000" cy="632974"/>
          </a:xfrm>
        </p:spPr>
        <p:txBody>
          <a:bodyPr>
            <a:normAutofit/>
          </a:bodyPr>
          <a:lstStyle/>
          <a:p>
            <a:pPr algn="r" rtl="1"/>
            <a:r>
              <a:rPr lang="en-US" sz="3200" dirty="0">
                <a:solidFill>
                  <a:srgbClr val="00B0F0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جرعة الأطفال من الحصبة الصفرية في EMR ، 2021</a:t>
            </a: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17866BE2-4570-4BC7-B178-991E133DEEB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729223" y="1607276"/>
          <a:ext cx="4897918" cy="4411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F4780F56-9102-48EE-AE3A-171D9E87AEE3}"/>
              </a:ext>
            </a:extLst>
          </p:cNvPr>
          <p:cNvGraphicFramePr>
            <a:graphicFrameLocks/>
          </p:cNvGraphicFramePr>
          <p:nvPr/>
        </p:nvGraphicFramePr>
        <p:xfrm>
          <a:off x="438733" y="1588505"/>
          <a:ext cx="5657267" cy="3881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CE36F1-6E5E-4C8F-9901-DEF47566F917}"/>
              </a:ext>
            </a:extLst>
          </p:cNvPr>
          <p:cNvCxnSpPr>
            <a:cxnSpLocks/>
          </p:cNvCxnSpPr>
          <p:nvPr/>
        </p:nvCxnSpPr>
        <p:spPr>
          <a:xfrm flipV="1">
            <a:off x="4534960" y="2332653"/>
            <a:ext cx="4207824" cy="746107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3D610A-739C-4FAE-BEC8-AC1203875041}"/>
              </a:ext>
            </a:extLst>
          </p:cNvPr>
          <p:cNvCxnSpPr>
            <a:cxnSpLocks/>
          </p:cNvCxnSpPr>
          <p:nvPr/>
        </p:nvCxnSpPr>
        <p:spPr>
          <a:xfrm>
            <a:off x="4609605" y="4236440"/>
            <a:ext cx="4207824" cy="1458236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59442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AF9D510-8CFE-4932-A47E-95BA708AB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843" y="90727"/>
            <a:ext cx="11754677" cy="720000"/>
          </a:xfrm>
        </p:spPr>
        <p:txBody>
          <a:bodyPr>
            <a:normAutofit/>
          </a:bodyPr>
          <a:lstStyle/>
          <a:p>
            <a:pPr algn="r" rtl="1"/>
            <a:r>
              <a:rPr lang="en-US" sz="2600" dirty="0">
                <a:solidFill>
                  <a:srgbClr val="00B0F0"/>
                </a:solidFill>
                <a:latin typeface="Ebrima" panose="02000000000000000000" pitchFamily="2" charset="0"/>
                <a:ea typeface="Ebrima" panose="02000000000000000000" pitchFamily="2" charset="0"/>
              </a:rPr>
              <a:t>تغطية DTP1 في بلدان Gavi المختارة مقارنة ببلدان منطقة شرق المتوسط ​​2010-2021 وفقًا لـ WUNEIC</a:t>
            </a:r>
            <a:endParaRPr lang="en-US" sz="2600" dirty="0"/>
          </a:p>
        </p:txBody>
      </p:sp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383C061F-FAD6-4F73-ACBA-F524D44AF93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80000" y="1378227"/>
          <a:ext cx="11233150" cy="3962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264261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4B11C-6AC4-47BF-9F86-244160A3AB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5170" y="178713"/>
            <a:ext cx="11614025" cy="430887"/>
          </a:xfrm>
        </p:spPr>
        <p:txBody>
          <a:bodyPr>
            <a:normAutofit fontScale="90000"/>
          </a:bodyPr>
          <a:lstStyle/>
          <a:p>
            <a:pPr algn="r"/>
            <a:r>
              <a:rPr lang="en-US" dirty="0">
                <a:solidFill>
                  <a:schemeClr val="accent1"/>
                </a:solidFill>
              </a:rPr>
              <a:t> </a:t>
            </a:r>
            <a:r>
              <a:rPr lang="ar-SA" dirty="0">
                <a:solidFill>
                  <a:schemeClr val="accent1"/>
                </a:solidFill>
              </a:rPr>
              <a:t>مقارنة بين التغطية و التقديرات الصحة العالمية و اليونيسف  في اليمن 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632FCF-B7E1-4BDC-9468-C9EB1B0182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8053" y="6240958"/>
            <a:ext cx="10595894" cy="984885"/>
          </a:xfrm>
        </p:spPr>
        <p:txBody>
          <a:bodyPr/>
          <a:lstStyle/>
          <a:p>
            <a:pPr marL="285750" indent="-285750" algn="r" rtl="1">
              <a:buFont typeface="Arial" panose="020B0604020202020204" pitchFamily="34" charset="0"/>
              <a:buChar char="•"/>
            </a:pPr>
            <a:endParaRPr lang="ar-SA" sz="1600" b="1" dirty="0"/>
          </a:p>
          <a:p>
            <a:pPr marL="285750" indent="-285750" algn="r" rtl="1">
              <a:buFont typeface="Arial" panose="020B0604020202020204" pitchFamily="34" charset="0"/>
              <a:buChar char="•"/>
            </a:pPr>
            <a:r>
              <a:rPr lang="ar-SA" sz="1600" b="1" dirty="0"/>
              <a:t>ولكن و لسنوات عدة لم تتجاوز التغطية باليمن  عن النسبة المطلوبة لمنع حدوث الأوبئة  برغم من تزايد عدد التدخلات الهادفة الى رفع التغطية .</a:t>
            </a:r>
          </a:p>
          <a:p>
            <a:pPr marL="285750" indent="-285750" algn="r" rtl="1">
              <a:buFont typeface="Arial" panose="020B0604020202020204" pitchFamily="34" charset="0"/>
              <a:buChar char="•"/>
            </a:pPr>
            <a:endParaRPr lang="ar-SA" sz="1600" b="1" dirty="0"/>
          </a:p>
          <a:p>
            <a:pPr marL="285750" indent="-285750" algn="r" rtl="1">
              <a:buFont typeface="Arial" panose="020B0604020202020204" pitchFamily="34" charset="0"/>
              <a:buChar char="•"/>
            </a:pPr>
            <a:endParaRPr lang="ar-SA" sz="1600" b="1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4D84D0D-02AE-4041-B130-F7ABABA8D15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0" y="825043"/>
          <a:ext cx="11887200" cy="5423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15055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4249797-A3C6-49CC-94E7-DB5D560024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378" y="370378"/>
            <a:ext cx="11762477" cy="586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3221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">
            <a:extLst>
              <a:ext uri="{FF2B5EF4-FFF2-40B4-BE49-F238E27FC236}">
                <a16:creationId xmlns:a16="http://schemas.microsoft.com/office/drawing/2014/main" id="{18D9089B-DAE8-492C-8FFA-6B5A514B06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C8145187-860E-4687-B46F-319D39DE7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02920"/>
            <a:ext cx="6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50" name="مجموعة 49">
            <a:extLst>
              <a:ext uri="{FF2B5EF4-FFF2-40B4-BE49-F238E27FC236}">
                <a16:creationId xmlns:a16="http://schemas.microsoft.com/office/drawing/2014/main" id="{6D92830A-8BD5-4592-80EE-596AFE168B20}"/>
              </a:ext>
            </a:extLst>
          </p:cNvPr>
          <p:cNvGrpSpPr/>
          <p:nvPr/>
        </p:nvGrpSpPr>
        <p:grpSpPr>
          <a:xfrm>
            <a:off x="496579" y="354279"/>
            <a:ext cx="11110279" cy="744831"/>
            <a:chOff x="630783" y="332141"/>
            <a:chExt cx="11110279" cy="744831"/>
          </a:xfrm>
        </p:grpSpPr>
        <p:pic>
          <p:nvPicPr>
            <p:cNvPr id="51" name="صورة 50">
              <a:extLst>
                <a:ext uri="{FF2B5EF4-FFF2-40B4-BE49-F238E27FC236}">
                  <a16:creationId xmlns:a16="http://schemas.microsoft.com/office/drawing/2014/main" id="{AF277C3E-34D2-43B1-8B84-ACEDB51424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3814" y="332141"/>
              <a:ext cx="1065124" cy="576497"/>
            </a:xfrm>
            <a:prstGeom prst="rect">
              <a:avLst/>
            </a:prstGeom>
            <a:noFill/>
          </p:spPr>
        </p:pic>
        <p:pic>
          <p:nvPicPr>
            <p:cNvPr id="52" name="صورة 51">
              <a:extLst>
                <a:ext uri="{FF2B5EF4-FFF2-40B4-BE49-F238E27FC236}">
                  <a16:creationId xmlns:a16="http://schemas.microsoft.com/office/drawing/2014/main" id="{7F59CF87-1D8B-4E65-90C8-D92261827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783" y="333394"/>
              <a:ext cx="743578" cy="743578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" name="مربع نص 13">
              <a:extLst>
                <a:ext uri="{FF2B5EF4-FFF2-40B4-BE49-F238E27FC236}">
                  <a16:creationId xmlns:a16="http://schemas.microsoft.com/office/drawing/2014/main" id="{2BDF2545-62F5-474D-9696-AEDBB3106078}"/>
                </a:ext>
              </a:extLst>
            </p:cNvPr>
            <p:cNvSpPr txBox="1"/>
            <p:nvPr/>
          </p:nvSpPr>
          <p:spPr>
            <a:xfrm>
              <a:off x="1099542" y="337649"/>
              <a:ext cx="9523147" cy="428931"/>
            </a:xfrm>
            <a:prstGeom prst="rect">
              <a:avLst/>
            </a:prstGeom>
            <a:noFill/>
            <a:ln w="6350">
              <a:noFill/>
            </a:ln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defRPr lang="ar-YE" sz="14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r>
                <a:rPr lang="en-US" sz="2800" baseline="0" dirty="0">
                  <a:solidFill>
                    <a:srgbClr val="3F5EAD"/>
                  </a:solidFill>
                </a:rPr>
                <a:t>A </a:t>
              </a:r>
              <a:r>
                <a:rPr lang="en-US" sz="2800" dirty="0">
                  <a:solidFill>
                    <a:srgbClr val="3F5EAD"/>
                  </a:solidFill>
                </a:rPr>
                <a:t>Historical Coverage </a:t>
              </a:r>
              <a:endParaRPr lang="en-US" sz="2800" baseline="0" dirty="0">
                <a:solidFill>
                  <a:srgbClr val="3F5EAD"/>
                </a:solidFill>
              </a:endParaRPr>
            </a:p>
          </p:txBody>
        </p:sp>
        <p:grpSp>
          <p:nvGrpSpPr>
            <p:cNvPr id="54" name="مجموعة 53">
              <a:extLst>
                <a:ext uri="{FF2B5EF4-FFF2-40B4-BE49-F238E27FC236}">
                  <a16:creationId xmlns:a16="http://schemas.microsoft.com/office/drawing/2014/main" id="{0C6AC0CA-8F37-4EE1-AF73-84FC329DFE9D}"/>
                </a:ext>
              </a:extLst>
            </p:cNvPr>
            <p:cNvGrpSpPr/>
            <p:nvPr/>
          </p:nvGrpSpPr>
          <p:grpSpPr>
            <a:xfrm>
              <a:off x="1166847" y="908638"/>
              <a:ext cx="10574215" cy="125071"/>
              <a:chOff x="1356526" y="6243709"/>
              <a:chExt cx="10835474" cy="453575"/>
            </a:xfrm>
          </p:grpSpPr>
          <p:sp>
            <p:nvSpPr>
              <p:cNvPr id="55" name="مستطيل 54">
                <a:extLst>
                  <a:ext uri="{FF2B5EF4-FFF2-40B4-BE49-F238E27FC236}">
                    <a16:creationId xmlns:a16="http://schemas.microsoft.com/office/drawing/2014/main" id="{891F1CD2-9EC4-4273-A1C9-BA30FF7852A3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6" name="مستطيل 55">
                <a:extLst>
                  <a:ext uri="{FF2B5EF4-FFF2-40B4-BE49-F238E27FC236}">
                    <a16:creationId xmlns:a16="http://schemas.microsoft.com/office/drawing/2014/main" id="{44F49143-8C7F-4BDF-9E48-E678C31D3D60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4" name="مجموعة 43">
            <a:extLst>
              <a:ext uri="{FF2B5EF4-FFF2-40B4-BE49-F238E27FC236}">
                <a16:creationId xmlns:a16="http://schemas.microsoft.com/office/drawing/2014/main" id="{A8D9DCF7-DCC1-4F66-B2A7-9A9CF9783DBC}"/>
              </a:ext>
            </a:extLst>
          </p:cNvPr>
          <p:cNvGrpSpPr/>
          <p:nvPr/>
        </p:nvGrpSpPr>
        <p:grpSpPr>
          <a:xfrm>
            <a:off x="560931" y="6257547"/>
            <a:ext cx="11631069" cy="453575"/>
            <a:chOff x="560931" y="6243709"/>
            <a:chExt cx="11631069" cy="453575"/>
          </a:xfrm>
          <a:solidFill>
            <a:srgbClr val="00B0F0"/>
          </a:solidFill>
        </p:grpSpPr>
        <p:grpSp>
          <p:nvGrpSpPr>
            <p:cNvPr id="46" name="مجموعة 45">
              <a:extLst>
                <a:ext uri="{FF2B5EF4-FFF2-40B4-BE49-F238E27FC236}">
                  <a16:creationId xmlns:a16="http://schemas.microsoft.com/office/drawing/2014/main" id="{4123BF70-F97C-4471-8D4E-D635E599BD4B}"/>
                </a:ext>
              </a:extLst>
            </p:cNvPr>
            <p:cNvGrpSpPr/>
            <p:nvPr/>
          </p:nvGrpSpPr>
          <p:grpSpPr>
            <a:xfrm>
              <a:off x="1617785" y="6243709"/>
              <a:ext cx="10574215" cy="453575"/>
              <a:chOff x="1356526" y="6243709"/>
              <a:chExt cx="10835474" cy="453575"/>
            </a:xfrm>
            <a:grpFill/>
          </p:grpSpPr>
          <p:sp>
            <p:nvSpPr>
              <p:cNvPr id="79" name="مستطيل 78">
                <a:extLst>
                  <a:ext uri="{FF2B5EF4-FFF2-40B4-BE49-F238E27FC236}">
                    <a16:creationId xmlns:a16="http://schemas.microsoft.com/office/drawing/2014/main" id="{CB2C645B-C773-4CDF-A787-5EC6D75FC026}"/>
                  </a:ext>
                </a:extLst>
              </p:cNvPr>
              <p:cNvSpPr/>
              <p:nvPr/>
            </p:nvSpPr>
            <p:spPr>
              <a:xfrm>
                <a:off x="1356526" y="6305398"/>
                <a:ext cx="10835474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مستطيل 79">
                <a:extLst>
                  <a:ext uri="{FF2B5EF4-FFF2-40B4-BE49-F238E27FC236}">
                    <a16:creationId xmlns:a16="http://schemas.microsoft.com/office/drawing/2014/main" id="{7B1D6628-B855-48D9-99A8-E36A7DA49874}"/>
                  </a:ext>
                </a:extLst>
              </p:cNvPr>
              <p:cNvSpPr/>
              <p:nvPr/>
            </p:nvSpPr>
            <p:spPr>
              <a:xfrm>
                <a:off x="1356526" y="6243709"/>
                <a:ext cx="10835473" cy="39188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9" name="مجموعة 48">
              <a:extLst>
                <a:ext uri="{FF2B5EF4-FFF2-40B4-BE49-F238E27FC236}">
                  <a16:creationId xmlns:a16="http://schemas.microsoft.com/office/drawing/2014/main" id="{199CD2D5-5CEC-4F44-9207-2ACDEEC407FA}"/>
                </a:ext>
              </a:extLst>
            </p:cNvPr>
            <p:cNvGrpSpPr/>
            <p:nvPr/>
          </p:nvGrpSpPr>
          <p:grpSpPr>
            <a:xfrm>
              <a:off x="560931" y="6243709"/>
              <a:ext cx="1018932" cy="453575"/>
              <a:chOff x="560931" y="6243709"/>
              <a:chExt cx="1018932" cy="453575"/>
            </a:xfrm>
            <a:grpFill/>
          </p:grpSpPr>
          <p:grpSp>
            <p:nvGrpSpPr>
              <p:cNvPr id="58" name="مجموعة 57">
                <a:extLst>
                  <a:ext uri="{FF2B5EF4-FFF2-40B4-BE49-F238E27FC236}">
                    <a16:creationId xmlns:a16="http://schemas.microsoft.com/office/drawing/2014/main" id="{F9BF6099-5C48-42B0-8533-CE79853063BA}"/>
                  </a:ext>
                </a:extLst>
              </p:cNvPr>
              <p:cNvGrpSpPr/>
              <p:nvPr/>
            </p:nvGrpSpPr>
            <p:grpSpPr>
              <a:xfrm>
                <a:off x="1375546" y="6243709"/>
                <a:ext cx="204317" cy="453575"/>
                <a:chOff x="1356526" y="6243709"/>
                <a:chExt cx="10835474" cy="453575"/>
              </a:xfrm>
              <a:grpFill/>
            </p:grpSpPr>
            <p:sp>
              <p:nvSpPr>
                <p:cNvPr id="77" name="مستطيل 76">
                  <a:extLst>
                    <a:ext uri="{FF2B5EF4-FFF2-40B4-BE49-F238E27FC236}">
                      <a16:creationId xmlns:a16="http://schemas.microsoft.com/office/drawing/2014/main" id="{B4751F11-12D0-4956-AB2A-6E9C3110D096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8" name="مستطيل 77">
                  <a:extLst>
                    <a:ext uri="{FF2B5EF4-FFF2-40B4-BE49-F238E27FC236}">
                      <a16:creationId xmlns:a16="http://schemas.microsoft.com/office/drawing/2014/main" id="{A8AA3A8A-C7D2-49FF-AB0B-B136A4FCEEDD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9" name="مجموعة 58">
                <a:extLst>
                  <a:ext uri="{FF2B5EF4-FFF2-40B4-BE49-F238E27FC236}">
                    <a16:creationId xmlns:a16="http://schemas.microsoft.com/office/drawing/2014/main" id="{938346D0-2119-4E21-B559-3367B63E9582}"/>
                  </a:ext>
                </a:extLst>
              </p:cNvPr>
              <p:cNvGrpSpPr/>
              <p:nvPr/>
            </p:nvGrpSpPr>
            <p:grpSpPr>
              <a:xfrm>
                <a:off x="1166849" y="6243709"/>
                <a:ext cx="163155" cy="453575"/>
                <a:chOff x="1356526" y="6243709"/>
                <a:chExt cx="10835474" cy="453575"/>
              </a:xfrm>
              <a:grpFill/>
            </p:grpSpPr>
            <p:sp>
              <p:nvSpPr>
                <p:cNvPr id="75" name="مستطيل 74">
                  <a:extLst>
                    <a:ext uri="{FF2B5EF4-FFF2-40B4-BE49-F238E27FC236}">
                      <a16:creationId xmlns:a16="http://schemas.microsoft.com/office/drawing/2014/main" id="{FF8F7658-9645-4A39-A31D-99C40FF7CF38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6" name="مستطيل 75">
                  <a:extLst>
                    <a:ext uri="{FF2B5EF4-FFF2-40B4-BE49-F238E27FC236}">
                      <a16:creationId xmlns:a16="http://schemas.microsoft.com/office/drawing/2014/main" id="{88A69464-18B9-4E56-8441-D0388E742F24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0" name="مجموعة 59">
                <a:extLst>
                  <a:ext uri="{FF2B5EF4-FFF2-40B4-BE49-F238E27FC236}">
                    <a16:creationId xmlns:a16="http://schemas.microsoft.com/office/drawing/2014/main" id="{1392A15A-BA85-40AF-94F3-94A71AAA88CC}"/>
                  </a:ext>
                </a:extLst>
              </p:cNvPr>
              <p:cNvGrpSpPr/>
              <p:nvPr/>
            </p:nvGrpSpPr>
            <p:grpSpPr>
              <a:xfrm>
                <a:off x="986790" y="6243709"/>
                <a:ext cx="134518" cy="453575"/>
                <a:chOff x="1356526" y="6243709"/>
                <a:chExt cx="10835474" cy="453575"/>
              </a:xfrm>
              <a:grpFill/>
            </p:grpSpPr>
            <p:sp>
              <p:nvSpPr>
                <p:cNvPr id="73" name="مستطيل 72">
                  <a:extLst>
                    <a:ext uri="{FF2B5EF4-FFF2-40B4-BE49-F238E27FC236}">
                      <a16:creationId xmlns:a16="http://schemas.microsoft.com/office/drawing/2014/main" id="{F227227D-90F2-48F6-89F2-7BABCDBCAA0C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4" name="مستطيل 73">
                  <a:extLst>
                    <a:ext uri="{FF2B5EF4-FFF2-40B4-BE49-F238E27FC236}">
                      <a16:creationId xmlns:a16="http://schemas.microsoft.com/office/drawing/2014/main" id="{177946A0-FF99-447F-B0BB-2436A6A32224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1" name="مجموعة 60">
                <a:extLst>
                  <a:ext uri="{FF2B5EF4-FFF2-40B4-BE49-F238E27FC236}">
                    <a16:creationId xmlns:a16="http://schemas.microsoft.com/office/drawing/2014/main" id="{3845EC16-0E7B-4022-958E-0AC019ED9571}"/>
                  </a:ext>
                </a:extLst>
              </p:cNvPr>
              <p:cNvGrpSpPr/>
              <p:nvPr/>
            </p:nvGrpSpPr>
            <p:grpSpPr>
              <a:xfrm>
                <a:off x="739140" y="6243709"/>
                <a:ext cx="61049" cy="453575"/>
                <a:chOff x="1356526" y="6243709"/>
                <a:chExt cx="10835474" cy="453575"/>
              </a:xfrm>
              <a:grpFill/>
            </p:grpSpPr>
            <p:sp>
              <p:nvSpPr>
                <p:cNvPr id="71" name="مستطيل 70">
                  <a:extLst>
                    <a:ext uri="{FF2B5EF4-FFF2-40B4-BE49-F238E27FC236}">
                      <a16:creationId xmlns:a16="http://schemas.microsoft.com/office/drawing/2014/main" id="{E583D673-2901-4B83-8FE1-9B6BCC117FD1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2" name="مستطيل 71">
                  <a:extLst>
                    <a:ext uri="{FF2B5EF4-FFF2-40B4-BE49-F238E27FC236}">
                      <a16:creationId xmlns:a16="http://schemas.microsoft.com/office/drawing/2014/main" id="{6EC9FCAD-F42C-448D-BC98-ED3C3B5F8D60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2" name="مجموعة 61">
                <a:extLst>
                  <a:ext uri="{FF2B5EF4-FFF2-40B4-BE49-F238E27FC236}">
                    <a16:creationId xmlns:a16="http://schemas.microsoft.com/office/drawing/2014/main" id="{DDCCAD1C-E8A7-44EC-B0A9-A918D2C8C4BD}"/>
                  </a:ext>
                </a:extLst>
              </p:cNvPr>
              <p:cNvGrpSpPr/>
              <p:nvPr/>
            </p:nvGrpSpPr>
            <p:grpSpPr>
              <a:xfrm>
                <a:off x="838199" y="6243709"/>
                <a:ext cx="103049" cy="453575"/>
                <a:chOff x="1356526" y="6243709"/>
                <a:chExt cx="10835474" cy="453575"/>
              </a:xfrm>
              <a:grpFill/>
            </p:grpSpPr>
            <p:sp>
              <p:nvSpPr>
                <p:cNvPr id="69" name="مستطيل 68">
                  <a:extLst>
                    <a:ext uri="{FF2B5EF4-FFF2-40B4-BE49-F238E27FC236}">
                      <a16:creationId xmlns:a16="http://schemas.microsoft.com/office/drawing/2014/main" id="{6754D1EE-E375-4DB8-BF46-2BCF26AEABFA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0" name="مستطيل 69">
                  <a:extLst>
                    <a:ext uri="{FF2B5EF4-FFF2-40B4-BE49-F238E27FC236}">
                      <a16:creationId xmlns:a16="http://schemas.microsoft.com/office/drawing/2014/main" id="{EF0317BD-2F1E-4E3E-B744-61201D8A90E9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3" name="مجموعة 62">
                <a:extLst>
                  <a:ext uri="{FF2B5EF4-FFF2-40B4-BE49-F238E27FC236}">
                    <a16:creationId xmlns:a16="http://schemas.microsoft.com/office/drawing/2014/main" id="{E71B030E-067B-43D2-BD70-592298139A66}"/>
                  </a:ext>
                </a:extLst>
              </p:cNvPr>
              <p:cNvGrpSpPr/>
              <p:nvPr/>
            </p:nvGrpSpPr>
            <p:grpSpPr>
              <a:xfrm>
                <a:off x="65237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7" name="مستطيل 66">
                  <a:extLst>
                    <a:ext uri="{FF2B5EF4-FFF2-40B4-BE49-F238E27FC236}">
                      <a16:creationId xmlns:a16="http://schemas.microsoft.com/office/drawing/2014/main" id="{D9897D88-9069-4EB8-A2A6-ED3563C39847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مستطيل 67">
                  <a:extLst>
                    <a:ext uri="{FF2B5EF4-FFF2-40B4-BE49-F238E27FC236}">
                      <a16:creationId xmlns:a16="http://schemas.microsoft.com/office/drawing/2014/main" id="{80D54DA0-0120-4D94-9B23-FB57D2A91B51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64" name="مجموعة 63">
                <a:extLst>
                  <a:ext uri="{FF2B5EF4-FFF2-40B4-BE49-F238E27FC236}">
                    <a16:creationId xmlns:a16="http://schemas.microsoft.com/office/drawing/2014/main" id="{75FD02B9-F83B-4E15-9621-DC2EA52BCB6E}"/>
                  </a:ext>
                </a:extLst>
              </p:cNvPr>
              <p:cNvGrpSpPr/>
              <p:nvPr/>
            </p:nvGrpSpPr>
            <p:grpSpPr>
              <a:xfrm>
                <a:off x="560931" y="6243709"/>
                <a:ext cx="45719" cy="453575"/>
                <a:chOff x="1356526" y="6243709"/>
                <a:chExt cx="10835474" cy="453575"/>
              </a:xfrm>
              <a:grpFill/>
            </p:grpSpPr>
            <p:sp>
              <p:nvSpPr>
                <p:cNvPr id="65" name="مستطيل 64">
                  <a:extLst>
                    <a:ext uri="{FF2B5EF4-FFF2-40B4-BE49-F238E27FC236}">
                      <a16:creationId xmlns:a16="http://schemas.microsoft.com/office/drawing/2014/main" id="{6A8A093F-AFC2-4E8E-875F-66C2FD9A680D}"/>
                    </a:ext>
                  </a:extLst>
                </p:cNvPr>
                <p:cNvSpPr/>
                <p:nvPr/>
              </p:nvSpPr>
              <p:spPr>
                <a:xfrm>
                  <a:off x="1356526" y="6305398"/>
                  <a:ext cx="10835474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مستطيل 65">
                  <a:extLst>
                    <a:ext uri="{FF2B5EF4-FFF2-40B4-BE49-F238E27FC236}">
                      <a16:creationId xmlns:a16="http://schemas.microsoft.com/office/drawing/2014/main" id="{8E50B7D8-B5B1-4866-B88B-4E846130547F}"/>
                    </a:ext>
                  </a:extLst>
                </p:cNvPr>
                <p:cNvSpPr/>
                <p:nvPr/>
              </p:nvSpPr>
              <p:spPr>
                <a:xfrm>
                  <a:off x="1356526" y="6243709"/>
                  <a:ext cx="10835473" cy="391886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57" name="شكل بيضاوي 56">
              <a:extLst>
                <a:ext uri="{FF2B5EF4-FFF2-40B4-BE49-F238E27FC236}">
                  <a16:creationId xmlns:a16="http://schemas.microsoft.com/office/drawing/2014/main" id="{EBCB11A8-7259-4D12-82BB-1E84E43EEFF4}"/>
                </a:ext>
              </a:extLst>
            </p:cNvPr>
            <p:cNvSpPr/>
            <p:nvPr/>
          </p:nvSpPr>
          <p:spPr>
            <a:xfrm>
              <a:off x="11062735" y="6283282"/>
              <a:ext cx="506201" cy="330197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81" name="مربع نص 80">
            <a:extLst>
              <a:ext uri="{FF2B5EF4-FFF2-40B4-BE49-F238E27FC236}">
                <a16:creationId xmlns:a16="http://schemas.microsoft.com/office/drawing/2014/main" id="{9CE8CADE-D26F-4730-B744-29CE1D5D8319}"/>
              </a:ext>
            </a:extLst>
          </p:cNvPr>
          <p:cNvSpPr txBox="1"/>
          <p:nvPr/>
        </p:nvSpPr>
        <p:spPr>
          <a:xfrm>
            <a:off x="11080386" y="6253435"/>
            <a:ext cx="4604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40749B"/>
                </a:solidFill>
                <a:cs typeface="AL-Mateen" pitchFamily="2" charset="-78"/>
              </a:rPr>
              <a:t>19</a:t>
            </a:r>
          </a:p>
        </p:txBody>
      </p:sp>
      <p:graphicFrame>
        <p:nvGraphicFramePr>
          <p:cNvPr id="40" name="Chart 1">
            <a:extLst>
              <a:ext uri="{FF2B5EF4-FFF2-40B4-BE49-F238E27FC236}">
                <a16:creationId xmlns:a16="http://schemas.microsoft.com/office/drawing/2014/main" id="{00000000-0008-0000-1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76471"/>
              </p:ext>
            </p:extLst>
          </p:nvPr>
        </p:nvGraphicFramePr>
        <p:xfrm>
          <a:off x="249810" y="1425004"/>
          <a:ext cx="11692379" cy="3986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188151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19</TotalTime>
  <Words>2446</Words>
  <Application>Microsoft Office PowerPoint</Application>
  <PresentationFormat>Widescreen</PresentationFormat>
  <Paragraphs>274</Paragraphs>
  <Slides>35</Slides>
  <Notes>7</Notes>
  <HiddenSlides>3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9" baseType="lpstr">
      <vt:lpstr>AL-Mateen</vt:lpstr>
      <vt:lpstr>Arial</vt:lpstr>
      <vt:lpstr>Calibri</vt:lpstr>
      <vt:lpstr>Calibri Light</vt:lpstr>
      <vt:lpstr>Ebrima</vt:lpstr>
      <vt:lpstr>Open Sans Light</vt:lpstr>
      <vt:lpstr>Poppins</vt:lpstr>
      <vt:lpstr>Poppins SemiBold</vt:lpstr>
      <vt:lpstr>Roboto</vt:lpstr>
      <vt:lpstr>Rockwell</vt:lpstr>
      <vt:lpstr>Times New Roman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جرعة صفرية للأطفال في EMR ، 2021</vt:lpstr>
      <vt:lpstr>جرعة الأطفال من الحصبة الصفرية في EMR ، 2021</vt:lpstr>
      <vt:lpstr>تغطية DTP1 في بلدان Gavi المختارة مقارنة ببلدان منطقة شرق المتوسط ​​2010-2021 وفقًا لـ WUNEIC</vt:lpstr>
      <vt:lpstr> مقارنة بين التغطية و التقديرات الصحة العالمية و اليونيسف  في اليمن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دراسة و طلب معلومات على مستوى ادنى و مستوى ادنى حتى تشكيل صورة لتركز الأطفال الجرعة الصفرية  </vt:lpstr>
      <vt:lpstr>PowerPoint Presentation</vt:lpstr>
      <vt:lpstr> IRMMA (التحديد ): اين و إيجاد الأدلة) </vt:lpstr>
      <vt:lpstr>مثال من بيانات 2019</vt:lpstr>
      <vt:lpstr>PowerPoint Presentation</vt:lpstr>
      <vt:lpstr>PowerPoint Presentation</vt:lpstr>
      <vt:lpstr>PowerPoint Presentation</vt:lpstr>
      <vt:lpstr> IRMMA (التحديد ): كيف او لماذا) </vt:lpstr>
      <vt:lpstr>PowerPoint Presentation</vt:lpstr>
      <vt:lpstr>PowerPoint Presentation</vt:lpstr>
      <vt:lpstr>لماذا التركيز على الأطفال دون جرعة واحدة والمجتمعات المنسية او محرومة؟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لماذا التركيز على الأطفال دون جرعة واحدة والمجتمعات المفقودة؟</vt:lpstr>
      <vt:lpstr>لماذا التركيز على الأطفال دون جرعة واحدة والمجتمعات المفقودة؟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التخطيط التفصيلي</dc:title>
  <dc:creator>Ebrahim Anesi</dc:creator>
  <cp:lastModifiedBy>Ebrahim Anesi</cp:lastModifiedBy>
  <cp:revision>151</cp:revision>
  <dcterms:created xsi:type="dcterms:W3CDTF">2023-03-29T01:03:53Z</dcterms:created>
  <dcterms:modified xsi:type="dcterms:W3CDTF">2023-06-01T19:17:17Z</dcterms:modified>
</cp:coreProperties>
</file>